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2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37" r:id="rId4"/>
    <p:sldMasterId id="2147484642" r:id="rId5"/>
    <p:sldMasterId id="2147484798" r:id="rId6"/>
    <p:sldMasterId id="2147484840" r:id="rId7"/>
  </p:sldMasterIdLst>
  <p:notesMasterIdLst>
    <p:notesMasterId r:id="rId19"/>
  </p:notesMasterIdLst>
  <p:handoutMasterIdLst>
    <p:handoutMasterId r:id="rId20"/>
  </p:handoutMasterIdLst>
  <p:sldIdLst>
    <p:sldId id="381" r:id="rId8"/>
    <p:sldId id="2147480685" r:id="rId9"/>
    <p:sldId id="2147481608" r:id="rId10"/>
    <p:sldId id="2147481591" r:id="rId11"/>
    <p:sldId id="2147481594" r:id="rId12"/>
    <p:sldId id="2147481595" r:id="rId13"/>
    <p:sldId id="2147481596" r:id="rId14"/>
    <p:sldId id="2147481620" r:id="rId15"/>
    <p:sldId id="2147481613" r:id="rId16"/>
    <p:sldId id="2147483424" r:id="rId17"/>
    <p:sldId id="2147481622" r:id="rId18"/>
  </p:sldIdLst>
  <p:sldSz cx="16256000" cy="9144000"/>
  <p:notesSz cx="7010400" cy="9296400"/>
  <p:defaultTextStyle>
    <a:defPPr>
      <a:defRPr lang="en-US"/>
    </a:defPPr>
    <a:lvl1pPr marL="0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25448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50896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76343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01788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27234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52684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078128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03577" algn="l" defTabSz="1450896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790C12-E1EC-73F8-7945-A046896DFCB5}" name="Angelia Bingham" initials="AB" userId="S::Angelia.BinghamLove@flex.com::ede76b7a-33e2-45a5-be97-fb8a46baa6c4" providerId="AD"/>
  <p188:author id="{7453673D-0260-73C7-BA5E-67E1308888BF}" name="Jamee Lynn Smith" initials="JS" userId="S::jameelynn.smith@flex.com::0caa5730-2935-44b0-bcd8-b294696823d7" providerId="AD"/>
  <p188:author id="{5D348E53-28A7-38BE-9506-FAB6FA46DF80}" name="Silvia Gianelli" initials="SG" userId="S::silvia.gianelli@flex.com::18ef2e5f-c5ce-4c2c-a55b-d435280a2c4c" providerId="AD"/>
  <p188:author id="{C516DF6D-1E78-8D01-A0DB-1BA65111E4D4}" name="Angelia Bingham" initials="AB" userId="S::angelia.binghamlove@flex.com::ede76b7a-33e2-45a5-be97-fb8a46baa6c4" providerId="AD"/>
  <p188:author id="{392746AD-9D42-D3F4-BB66-486CF0F99510}" name="Melissa Garcia" initials="" userId="S::melissa.garcia@flex.com::201c59f3-fd49-4001-b882-a73c95c41d24" providerId="AD"/>
  <p188:author id="{2EF05EB3-B700-8186-0080-C14C14DDFC4B}" name="Sarah Smock" initials="SS" userId="S::Sarah.Smock@flex.com::8f01caf3-5652-4423-9ee0-296d9eb4161f" providerId="AD"/>
  <p188:author id="{B95A97D6-5B52-D8A3-3F0D-B209F3AF728E}" name="Yvette Lorenz" initials="" userId="S::Yvette.Lorenz@flex.com::77932d53-3f65-4362-b148-c210ee088acd" providerId="AD"/>
  <p188:author id="{08845DEE-333C-1EEB-0899-DB7EC5520EF7}" name="Emily Lokenberg" initials="EL" userId="S::emily.lokenberg@flex.com::52c3a1bc-2c7a-477f-9ec1-8ccdc9d4f0a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ry Lewis" initials="JL" lastIdx="7" clrIdx="0">
    <p:extLst>
      <p:ext uri="{19B8F6BF-5375-455C-9EA6-DF929625EA0E}">
        <p15:presenceInfo xmlns:p15="http://schemas.microsoft.com/office/powerpoint/2012/main" userId="S::jlewis@brownbagmarketing.com::6066ead6-cd6b-4bee-8068-b2ba2fe37fe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D7D7D7"/>
    <a:srgbClr val="CDCDCD"/>
    <a:srgbClr val="D3D3D3"/>
    <a:srgbClr val="DFDEDE"/>
    <a:srgbClr val="F2F2F2"/>
    <a:srgbClr val="00548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54A5C6-BE8C-4F85-9B7F-3F15A9700D91}" v="35" dt="2025-12-18T11:46:38.533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5039" autoAdjust="0"/>
  </p:normalViewPr>
  <p:slideViewPr>
    <p:cSldViewPr snapToGrid="0">
      <p:cViewPr varScale="1">
        <p:scale>
          <a:sx n="96" d="100"/>
          <a:sy n="96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21.pn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871A1AA-09B8-4E4B-857B-211CB13173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00459" y="46672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E07D72-8062-9148-B75C-64306D893F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150145" y="8495508"/>
            <a:ext cx="359330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>
                <a:solidFill>
                  <a:schemeClr val="tx2"/>
                </a:solidFill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C3997B-F563-0F47-B2A8-A2CE321239C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0459" y="8495508"/>
            <a:ext cx="572294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fld id="{8CAD084A-3552-EF4E-BA68-B55676E35F5C}" type="slidenum">
              <a:rPr lang="en-US" sz="900" smtClean="0">
                <a:solidFill>
                  <a:schemeClr val="tx2"/>
                </a:solidFill>
              </a:rPr>
              <a:pPr algn="l"/>
              <a:t>‹#›</a:t>
            </a:fld>
            <a:endParaRPr lang="en-US" sz="9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0EBF6D0-F921-4F3A-976E-549A84BF28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C56C6AC-EA50-489D-A9A4-5B488E6A0E0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95A9B19-59A7-4F26-ACB4-303E408F636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7704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21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23081" y="145500"/>
            <a:ext cx="4677569" cy="366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4944" y="150812"/>
            <a:ext cx="1222374" cy="36139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anose="020B0502020202020204" pitchFamily="34" charset="0"/>
              </a:defRPr>
            </a:lvl1pPr>
          </a:lstStyle>
          <a:p>
            <a:fld id="{478F4C1A-230E-447F-BB2D-7063636B545A}" type="datetimeFigureOut">
              <a:rPr lang="en-US" smtClean="0"/>
              <a:pPr/>
              <a:t>2/6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3081" y="612224"/>
            <a:ext cx="5964237" cy="335573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23081" y="4257675"/>
            <a:ext cx="5964238" cy="42505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44587" y="8658227"/>
            <a:ext cx="4606132" cy="3040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081" y="8658227"/>
            <a:ext cx="569914" cy="3040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A463A87D-6DB0-4F7D-B050-CC2C80DE00B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7703DC4-DB60-478A-9C36-E49F91E571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0D0F67E-0480-459E-A4E7-209C8E89F7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E8ECB5A-8F4A-4C1D-89F6-A5FED3131B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75" y="8703749"/>
            <a:ext cx="515144" cy="20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560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3A87D-6DB0-4F7D-B050-CC2C80DE00B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94949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9161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8163" y="619125"/>
            <a:ext cx="6021387" cy="3386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97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920FF-AF58-2E0C-5EF5-6CB2D0F3F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481E26-A3B4-6AA8-0F88-4309A287C5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A63F7B-0FDC-CEC1-C6D1-77A2E1C527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entury Gothic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7ED31A-7B99-83C3-4A62-A19C0AF8AF8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81A5E8-8FE9-AF3E-8F82-A8C22707B2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873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RO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et’s start with some of the metaphorical wal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raditionally, power, cooling, and compute were all designed and built separate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 the AI era, that’s a recipe for fail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 the past power was almost taken for gran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 3MW Utility service could handle 200 racks, but now, it might only handle 3 small AI clus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 order to keep up with the exponential demands of AI hardware, power and cooling infrastructure must be designed alongside compute instead of treated as an afterthough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772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RO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is more than just checking each other’s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t requires new approaches to design, increased pre-fabrication and modularity, and redesigning data center layouts to optimize for compute dens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ll of which will lead to more capacity, of higher-powered compute, delivered in smaller footprin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670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CHR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at leads us to how those metaphorical walls </a:t>
            </a:r>
            <a:r>
              <a:rPr lang="en-US" err="1"/>
              <a:t>tumblin</a:t>
            </a:r>
            <a:r>
              <a:rPr lang="en-US"/>
              <a:t>’, </a:t>
            </a:r>
            <a:r>
              <a:rPr lang="en-US" err="1"/>
              <a:t>tumblin</a:t>
            </a:r>
            <a:r>
              <a:rPr lang="en-US"/>
              <a:t>’ are going to also mean physical walls come </a:t>
            </a:r>
            <a:r>
              <a:rPr lang="en-US" err="1"/>
              <a:t>crumblin</a:t>
            </a:r>
            <a:r>
              <a:rPr lang="en-US"/>
              <a:t>’ dow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 hope everyone in the audience today is familiar with what a modern data center looks like, but if you aren’t then here’s a simplified illustration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3A87D-6DB0-4F7D-B050-CC2C80DE00B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94949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01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8FC6F-929E-E25B-066E-E617FB51D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B7EE9E-EDA2-B17C-A5E9-43DABAAEB1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94D6B5-89BB-199D-8317-ACF477351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CHR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 the near future, we’re looking at substantial consolidation within the data hall, mostly due to HVDC allowing for much denser compu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is representative of bleeding edge implementations - realistically, most data centers will be a mix of AI and non-AI architec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e walls are still there, but the groundwork has been laid for massive chan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030E71-ABFA-3B45-3237-655DCC1E03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515B8C-AB53-7EEC-F4F1-3A069354AE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3A87D-6DB0-4F7D-B050-CC2C80DE00B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94949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8727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1309CA-A7C2-BBCC-3AA9-362313248E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DACE28-3FC5-412C-ECDF-11B42E129D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ADDCF5-70B9-034C-A6C2-596F78D37E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CHR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 little further out, those walls are </a:t>
            </a:r>
            <a:r>
              <a:rPr lang="en-US" err="1"/>
              <a:t>crumblin</a:t>
            </a:r>
            <a:r>
              <a:rPr lang="en-US"/>
              <a:t>’ dow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ith HVDC and AI compute maturing, data centers will be primed for completely new approaches to power and cooling infrastru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will blur the lines between white space and grey space, bringing power infrastructure into the data halls alongside compute and cool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2EA388-9CDC-1A7F-3B14-7D5CC87F803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2CE073-8B07-512E-9B40-1817B42562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63A87D-6DB0-4F7D-B050-CC2C80DE00B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4949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94949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408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CHR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o quickly summarize, power and compute are converging, power and cooling are converging, and white space and grey space are converg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 are already proving this with our new AI Infrastructure platform – that cuts deployment time by 30% and is optimized for efficien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ese walls coming down don’t just speed up the design process, they bring benefits throughout the product lifecyc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1445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2288" y="612775"/>
            <a:ext cx="5964237" cy="3354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RO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f you look at the major challenges the industry is facing today, none of them can be solved without a holistic and collaborative appro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Getting rid of those roadblocks and pinch points is amazing on its own, but it’s only half the st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convergence will also lay the foundation for improvements in three areas all of us are chasing every single day: efficiency, cost, and resilienc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3A87D-6DB0-4F7D-B050-CC2C80DE00B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537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2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chemeClr val="accent1">
                  <a:alpha val="95000"/>
                </a:schemeClr>
              </a:gs>
              <a:gs pos="0">
                <a:srgbClr val="005386"/>
              </a:gs>
              <a:gs pos="100000">
                <a:schemeClr val="accent1">
                  <a:alpha val="7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2F0C4806-6914-C482-EBEA-25C93B545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C7A43D-5896-5324-BF69-046513C5A5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EDA78D0-0492-EA41-5513-6498C0C6B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54C781-98A0-6E39-2352-9D909E8845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9436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black background&#10;&#10;Description automatically generated">
            <a:extLst>
              <a:ext uri="{FF2B5EF4-FFF2-40B4-BE49-F238E27FC236}">
                <a16:creationId xmlns:a16="http://schemas.microsoft.com/office/drawing/2014/main" id="{5CBE16A4-D33B-1D27-61BB-AE2EB5B4E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257010" cy="9144000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A4548C5-FE26-62ED-EC09-DC569EF597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00E3F22-5FF1-7F76-8020-9514FA1EB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5" name="Picture 4" descr="Icon&#10;&#10;Description automatically generated with low confidence">
            <a:extLst>
              <a:ext uri="{FF2B5EF4-FFF2-40B4-BE49-F238E27FC236}">
                <a16:creationId xmlns:a16="http://schemas.microsoft.com/office/drawing/2014/main" id="{2424A25A-ADDD-0409-139B-8666B8CAE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56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2EC14D5-E8AB-4C0B-8933-1DF12FE9D3E1}"/>
              </a:ext>
            </a:extLst>
          </p:cNvPr>
          <p:cNvSpPr txBox="1"/>
          <p:nvPr userDrawn="1"/>
        </p:nvSpPr>
        <p:spPr>
          <a:xfrm>
            <a:off x="1031133" y="1878955"/>
            <a:ext cx="1185801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0">
                <a:solidFill>
                  <a:schemeClr val="tx1"/>
                </a:solidFill>
              </a:rPr>
              <a:t>END OF TEMPLATE</a:t>
            </a:r>
          </a:p>
          <a:p>
            <a:pPr algn="l"/>
            <a:endParaRPr lang="en-US" sz="4000" b="0">
              <a:solidFill>
                <a:schemeClr val="tx1"/>
              </a:solidFill>
            </a:endParaRPr>
          </a:p>
          <a:p>
            <a:pPr algn="l"/>
            <a:r>
              <a:rPr lang="en-US" sz="8800" b="1">
                <a:solidFill>
                  <a:schemeClr val="tx1"/>
                </a:solidFill>
              </a:rPr>
              <a:t>Do not use any master slide that exists after this one</a:t>
            </a:r>
          </a:p>
        </p:txBody>
      </p:sp>
    </p:spTree>
    <p:extLst>
      <p:ext uri="{BB962C8B-B14F-4D97-AF65-F5344CB8AC3E}">
        <p14:creationId xmlns:p14="http://schemas.microsoft.com/office/powerpoint/2010/main" val="1385977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E5FC2-0BB2-A79A-845C-3C66886CC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EE5C3F-9D9C-503F-C702-73DED79C6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BFEE62-6182-AA5F-FF4C-26927A7B8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CF9D21-3734-D151-9A95-35AF0CBC6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800" y="1405378"/>
            <a:ext cx="146304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2578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47F0ED1-F33A-519A-CFA5-117298FB6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91962B1-2D35-2316-9B9D-F58F0ACE2FB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398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Dark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chemeClr val="accent1">
                  <a:alpha val="95000"/>
                </a:schemeClr>
              </a:gs>
              <a:gs pos="0">
                <a:srgbClr val="005386"/>
              </a:gs>
              <a:gs pos="100000">
                <a:schemeClr val="accent1">
                  <a:alpha val="7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2F0C4806-6914-C482-EBEA-25C93B545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C7A43D-5896-5324-BF69-046513C5A5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EDA78D0-0492-EA41-5513-6498C0C6B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54C781-98A0-6E39-2352-9D909E8845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0451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47F0ED1-F33A-519A-CFA5-117298FB6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91962B1-2D35-2316-9B9D-F58F0ACE2FB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8957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lumn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30B3CD-51A5-09E9-40EC-31C2B599BE2F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937760" y="1408176"/>
            <a:ext cx="105156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1358343-06D3-4CEF-BA37-78E95B0831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1" y="0"/>
            <a:ext cx="4458879" cy="9144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F1673-6A51-166C-E45F-DD119CAD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0" y="485162"/>
            <a:ext cx="105156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792B6-5F0D-1075-E41F-C719C6AD40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E889D-C54E-FB9A-99F6-C69433B48A6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24C9E5-9074-7FDA-9461-361A44F56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47093" y="6969782"/>
            <a:ext cx="12608907" cy="731520"/>
          </a:xfrm>
          <a:prstGeom prst="rect">
            <a:avLst/>
          </a:prstGeom>
          <a:solidFill>
            <a:schemeClr val="bg2"/>
          </a:solidFill>
        </p:spPr>
        <p:txBody>
          <a:bodyPr lIns="182880" tIns="182880" rIns="822960" bIns="18288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0848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ar with image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094EE1-1B87-2BD8-E9C9-C009C38623CF}"/>
              </a:ext>
            </a:extLst>
          </p:cNvPr>
          <p:cNvSpPr/>
          <p:nvPr userDrawn="1"/>
        </p:nvSpPr>
        <p:spPr>
          <a:xfrm>
            <a:off x="12425853" y="0"/>
            <a:ext cx="3830146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8321AB24-A9CB-254B-2130-32CA9F6EF2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603644" y="2180376"/>
            <a:ext cx="3829396" cy="472131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83F72C-158F-5B83-0AB7-100E93A21F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D1D0AC-986B-3CA3-8A6D-3ACCE69D1E9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CFB85BE2-4AD7-C196-6809-D37A75AFC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02870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F40E0A2-91DA-C665-0438-7E39A0CC55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02870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1068DBF-DBB9-AD78-53A0-5F66949A4F5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0287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79CDF04-F2DD-8D08-7D5B-768818989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581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77535-9A9B-BDA7-BEF2-54FD9AD90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26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DC513C-47FE-8AAF-F942-5BBC9B1CFE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86C863-803F-BD55-BFDF-9D0ACA46BF4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2B484B4-850F-16B0-7547-6DD87C5883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2C8CEEB1-EB2F-FD09-8165-4885BE155BF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480EBF0E-FABC-4AC8-CCF2-68703552EBE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594344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9989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content with images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CDB3-E1EF-A9E2-BCA3-326A3095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29CE1B5-E7A3-421D-BC2F-318F6C288E7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54F5CB4-2BFD-AA57-DD18-85941B799C4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6FC0C5B-6370-DA8D-D5F8-DF932B093F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3B355B5-17C5-6B60-ABF7-C45790817E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0E607B9-A16E-BCB6-401D-6EF656F7FE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94344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C85C2685-EBD0-D45B-428B-E4C462BBD31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307351-4A45-38DF-5DBE-6E63DD9AA2D6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882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4E255-1C3B-32F6-1C40-F210FB9BB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47C70D-5DDD-BA69-A809-08F613F55896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7D17D8-6576-6323-3CA3-58805E91A8B8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37439A-944E-952B-BD74-F3C6382C07F5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3DCC934-1E0A-2B7A-0DE8-848301B6F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B3357A-5511-DFDC-4748-36D3CC2C3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C2A1F41-BDBB-62A4-AB98-512B7D0C26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483121A-3E01-793D-7F27-6231619440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F840A14-54A8-C738-141F-5461851165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7D86D80-D648-9205-AD46-5F3FFCC304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D4DCF979-F46F-995F-21E6-E40801761A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B5460305-8C13-92CB-A182-8C8B0BC068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1363CA8-B36B-3496-1388-26946F2C4A1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8914001C-3224-5D0F-B4CD-7B6D522E2F4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83F5837-D768-1E36-B1A2-67E1BB4EC83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490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1D128B8-3743-46BD-9D13-061AC41A12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1463"/>
            <a:ext cx="7792537" cy="779253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7C8018C-D5A5-7640-66F3-AA3B03124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7A18D1-1BC3-A218-865B-0C44D3288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9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238D0231-1645-23DB-30BE-6AD6F67DD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42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549-9671-07BC-676D-DE96C2BF5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BCEDE0F-B83F-D393-29D3-BA6BB58305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43346EB-19E4-1DFC-CEDE-A9BD67D8C5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B435DD1-0042-D542-6DEB-381E8ADD5D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0DA9E20-CE4A-48C1-728F-8E13B484892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291187F-FF61-E48C-D27C-341D8D3838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0CD1195-2C45-6ECF-4D63-6FBDD025047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920232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800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8EF48FC2-2CBC-9B58-ED8B-1D6684BF6CF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123CB56-A1A3-DFAD-5A48-452B29AE019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AFBEBC5-3A0F-4622-8BE9-D6F649801BD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920232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EA5825-A2C2-58B3-77D3-54942F97252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AB72ED9-4166-A4A6-8E79-F636E8A2EA3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1017504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EDE8FDE-6EAE-A409-D080-5443CF5335F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920232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72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ur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9BB031-585C-C483-0FF2-3019B14A359E}"/>
              </a:ext>
            </a:extLst>
          </p:cNvPr>
          <p:cNvSpPr/>
          <p:nvPr userDrawn="1"/>
        </p:nvSpPr>
        <p:spPr>
          <a:xfrm>
            <a:off x="0" y="3886200"/>
            <a:ext cx="16255999" cy="5257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0FDBFB5-FD34-4A0C-4A73-E661FF68C81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36429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/>
              <a:t>Click to add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19">
            <a:extLst>
              <a:ext uri="{FF2B5EF4-FFF2-40B4-BE49-F238E27FC236}">
                <a16:creationId xmlns:a16="http://schemas.microsoft.com/office/drawing/2014/main" id="{67FB3129-B0D4-1CC4-6197-51DF5986E07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11540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7973B787-E959-4BDC-6E15-304DBD33C72D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85856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3" name="Content Placeholder 19">
            <a:extLst>
              <a:ext uri="{FF2B5EF4-FFF2-40B4-BE49-F238E27FC236}">
                <a16:creationId xmlns:a16="http://schemas.microsoft.com/office/drawing/2014/main" id="{7D2BA121-795A-1795-9A92-DCF99FAD42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60967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9">
            <a:extLst>
              <a:ext uri="{FF2B5EF4-FFF2-40B4-BE49-F238E27FC236}">
                <a16:creationId xmlns:a16="http://schemas.microsoft.com/office/drawing/2014/main" id="{7E00579C-540C-A80E-E9E1-D1C0C51B4211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511143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5" name="Content Placeholder 19">
            <a:extLst>
              <a:ext uri="{FF2B5EF4-FFF2-40B4-BE49-F238E27FC236}">
                <a16:creationId xmlns:a16="http://schemas.microsoft.com/office/drawing/2014/main" id="{594E6971-4515-516C-2CE7-306FAB40733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6254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DF890EDE-7F0E-D120-BC6A-737C63F8DADB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1260570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FD8B481C-C2BE-75D8-74DD-0A64D4C0A8A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235681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0FFDD37-D2B7-5C16-F88E-CB52058E1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622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/>
        </p:nvSpPr>
        <p:spPr bwMode="white">
          <a:xfrm>
            <a:off x="0" y="985134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rgbClr val="0099DD">
                  <a:lumMod val="75000"/>
                  <a:alpha val="95000"/>
                </a:srgbClr>
              </a:gs>
              <a:gs pos="0">
                <a:srgbClr val="005386"/>
              </a:gs>
              <a:gs pos="100000">
                <a:srgbClr val="0099DD">
                  <a:alpha val="75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51505317-2F30-4C70-8040-FD04BFC21E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50275" y="1511482"/>
            <a:ext cx="1310625" cy="53040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4AE0150-47F6-4CAD-883B-C499ECD129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0" y="2398906"/>
            <a:ext cx="5394395" cy="3058915"/>
          </a:xfrm>
        </p:spPr>
        <p:txBody>
          <a:bodyPr>
            <a:norm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8" name="Subtitle 2">
            <a:extLst>
              <a:ext uri="{FF2B5EF4-FFF2-40B4-BE49-F238E27FC236}">
                <a16:creationId xmlns:a16="http://schemas.microsoft.com/office/drawing/2014/main" id="{6ABB1A0B-2F4F-457F-AE71-58E58E6644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960" y="6181725"/>
            <a:ext cx="5408342" cy="9923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and/or dat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0D1ACF8-2DE3-4B88-B446-2E8E4C6A1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38243" y="1511482"/>
            <a:ext cx="1310625" cy="53040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49C9B4-F2FB-43E0-A4D6-EA1A2E2C0E48}"/>
              </a:ext>
            </a:extLst>
          </p:cNvPr>
          <p:cNvSpPr txBox="1"/>
          <p:nvPr userDrawn="1"/>
        </p:nvSpPr>
        <p:spPr>
          <a:xfrm>
            <a:off x="81280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9719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ur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 userDrawn="1"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969509-E458-442E-8AC9-5A2FE8146C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969625" y="0"/>
            <a:ext cx="5286375" cy="9144000"/>
          </a:xfrm>
          <a:prstGeom prst="rect">
            <a:avLst/>
          </a:prstGeom>
        </p:spPr>
      </p:pic>
      <p:pic>
        <p:nvPicPr>
          <p:cNvPr id="12" name="Picture 11" descr="Icon&#10;&#10;Description automatically generated with low confidence">
            <a:extLst>
              <a:ext uri="{FF2B5EF4-FFF2-40B4-BE49-F238E27FC236}">
                <a16:creationId xmlns:a16="http://schemas.microsoft.com/office/drawing/2014/main" id="{C74EED94-9ED7-354B-98EC-0C267E524D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7AB17-C08D-45E5-A60F-FB1FE75B20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D71BA488-F257-46E4-89C3-D14622ECD5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D8E0D-B85B-474D-A6AC-D5717256A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877A3D-E854-4494-80E1-2F6AE48700B9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645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Circ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25010C-079F-490A-8CA5-039834DECF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664825" y="0"/>
            <a:ext cx="5591175" cy="9144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34BB8DDF-464E-4EC7-AC9B-35DE765567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0D8537C-065E-44A2-B27E-EF4513F73DF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17D53BF6-78B2-40ED-B5B9-1621A6568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E368577-2875-4C3D-ADF7-47016970B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F99503C-AFC0-493B-A1BD-6430ACCCA5EA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91424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Connected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7D64A2-62D5-4D71-A21A-3917D0F7AC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131550" y="0"/>
            <a:ext cx="5124450" cy="9144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5E415432-7644-4576-8081-D12D04B3B1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E0B04BA-023D-43F9-A5EF-1F82243CF8A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522B3D49-09D7-4BD9-A42B-C21EE5D9C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FD0F64A-BF28-4EA0-AC21-B573F2A5F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C22CB2-FB9C-491C-A4D7-0D967EE8DB43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62122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Ribb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 userDrawn="1"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355166-3785-41E3-B7FD-660E6D291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131049" y="0"/>
            <a:ext cx="9124951" cy="9144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7FD622E-C231-4EEF-8897-476BAAA5B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58CE7E5-6D8B-425E-A449-0F2B3772755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2DA250AB-BC3C-4114-BA23-48ADAEDE0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822CAD8-0A5D-4531-9EE9-A889C075F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6A077F-766B-43C0-8AF4-96ADBB9FA1BD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5723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Rip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E6C0DE-2D58-470D-85BE-7AF4F32C6E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398124" y="0"/>
            <a:ext cx="5857876" cy="9144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7EA61E27-7621-4349-A2D9-D958BB771C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D01766-A8A5-4935-9FEC-3C4C5CD5082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3A2C17B7-4590-43A7-967E-33977774E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631ACA8-F1AD-4593-8CF5-B6F26DFF8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8F870E7-AE6C-490E-A754-C89094D8D00B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1175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W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36E575-BE8D-4BFC-9504-A64B4FFE1F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064874" y="0"/>
            <a:ext cx="5191126" cy="9144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0805FA91-7B88-46E6-8761-85BCF9F960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700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003860-7807-48D6-A38E-B22E4D8C0E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C2F077E7-EFC3-4CC1-ACB0-00F2D00BB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98D0AC0-F89E-4488-8319-C3902E73D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C10F38-D1CF-4539-8D0B-5C5A5EB4BC20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/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9702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3B4DA1-DCA9-47AA-89DF-ED2CA7242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89568"/>
            <a:ext cx="7125694" cy="775443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84914BF-F9ED-FC64-C7F0-DE3D6200E2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555603-D2A0-CA5C-6E1F-B1E6C475C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8E7AE9F-EAC5-BFCB-57FB-E92C2CE66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8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Bu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D128B8-3743-46BD-9D13-061AC41A12D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351463"/>
            <a:ext cx="7792537" cy="7792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342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3B4DA1-DCA9-47AA-89DF-ED2CA724256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389568"/>
            <a:ext cx="7125694" cy="77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8071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Connected 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FE1437-B267-4A36-9A25-FB17C9EB7D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4047414"/>
            <a:ext cx="13727441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77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1C6FB-F69F-499E-A307-42AED980E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24951" cy="9144000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42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Rip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F2F4A2D-8595-41FB-9946-4C590E96013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084725"/>
            <a:ext cx="7401958" cy="805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27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A4E68C6-FBE7-C74A-A1B4-CC6C65D1DD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4925466"/>
            <a:ext cx="7125679" cy="28896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1AB769-0474-4D0D-BECE-395FBA11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046848"/>
            <a:ext cx="7125551" cy="2717253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1BAFBED-9537-4EAC-B665-301BA7736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FD98B2C-CE3B-4C0A-AC4F-936741F1C0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5191126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454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0A193B6F-42A2-4AAB-BEAA-9DD63566C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BAE8152-8DFB-4085-AA2B-60F872F727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057400"/>
            <a:ext cx="14630400" cy="59436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  <a:lvl5pPr>
              <a:defRPr sz="2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BB29E01-507A-4C00-8C58-BFF48495E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290615"/>
            <a:ext cx="14629384" cy="12029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AB2A9F4-C384-456F-854B-C40E0982E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C3BA0A-D409-48F1-8A7D-5936E59E0597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9530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91A1A4D-44A8-409C-8A50-7DE5DD132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60" y="1609714"/>
            <a:ext cx="14630400" cy="44638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  <a:lvl2pPr marL="3175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A193B6F-42A2-4AAB-BEAA-9DD63566C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D01A9E-98FD-4F40-AD6D-EF6DA42BFF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2960" y="2514600"/>
            <a:ext cx="14628812" cy="548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1059C7-033D-4D05-8E0B-3C4988F1F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290615"/>
            <a:ext cx="14629384" cy="12029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B1B1BBE-8C54-4DF9-8EB3-6CF138CDE2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FEC77A-2689-44EF-BC80-C662E2F3638F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4065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1358343-06D3-4CEF-BA37-78E95B0831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6289675" cy="9144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57199"/>
            <a:ext cx="5303520" cy="3453063"/>
          </a:xfrm>
          <a:gradFill flip="none" rotWithShape="1">
            <a:gsLst>
              <a:gs pos="0">
                <a:schemeClr val="accent1"/>
              </a:gs>
              <a:gs pos="50000">
                <a:srgbClr val="0077B3">
                  <a:alpha val="95000"/>
                </a:srgbClr>
              </a:gs>
              <a:gs pos="100000">
                <a:schemeClr val="accent2">
                  <a:alpha val="85000"/>
                </a:schemeClr>
              </a:gs>
            </a:gsLst>
            <a:lin ang="2700000" scaled="1"/>
            <a:tileRect/>
          </a:gradFill>
        </p:spPr>
        <p:txBody>
          <a:bodyPr lIns="822960" tIns="411480" rIns="41148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206B94-DE4C-4760-B842-FC4AD52FAB08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0B1632A-A761-442C-A6F9-276501E922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CFDCAD-4D46-4AB9-AC74-BF8BE93613BE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676272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Bu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AAFC28-F2ED-4E87-9E31-4EEE03DDE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286500" cy="91440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6272"/>
            <a:ext cx="4663499" cy="2353089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3FB798-D2AF-417B-A54B-7FF55C4A591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48A946-E687-AC4B-9DE5-07A2073E319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A0DD64-0CD3-4CAC-8A9F-52576C97FDE2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7591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FE1437-B267-4A36-9A25-FB17C9EB7D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47414"/>
            <a:ext cx="13727441" cy="509658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CF4019E-5C10-F8BD-C665-EDAB788AA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5F0D644-534D-F9AC-AA23-0E7BF27AE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C6D4DD4-8880-6B13-027D-67A21D310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364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7BFC57-996D-4003-B742-28C863433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74" y="0"/>
            <a:ext cx="5915026" cy="91440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8680"/>
            <a:ext cx="4663499" cy="23435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19F40C2-8EF4-43E7-9CE1-9785639608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4748EF4-B04F-45F2-9E9A-24BCAC160CA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256CA-3842-475A-82C5-752A9C197BEE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2020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Connected 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FA07B54-A565-41C5-BC35-D58B2582BE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86" y="5066731"/>
            <a:ext cx="6287377" cy="40772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8680"/>
            <a:ext cx="4663499" cy="23435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D9594036-9550-42B7-9734-584A901460B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F49BAB3-2814-4D04-B6D4-CB3AC685DD7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9EC538-DEF4-4121-8B5C-D72AE7A359FB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5228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99C263-0F08-4E92-872A-B89FDC5BE0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286500" cy="91440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8680"/>
            <a:ext cx="4663499" cy="23435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2FB587C-E532-47A8-B3BA-02B83878410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09FD3C-9C23-4826-99CA-2058C0C6B1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D5BC6C-D58A-44DA-BC53-1268A90E3A6A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7674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Rip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576A79-F712-43F9-8C0C-3C090C1046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50" y="0"/>
            <a:ext cx="6286500" cy="91440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8680"/>
            <a:ext cx="4663499" cy="23435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907A66F7-D342-4ADD-B44A-06AB4D09EE2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446440A-D95D-4DE0-835B-A64A33206BA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367852-E835-4A7E-BAD6-93256C932F28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7182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_W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AFAB42-2A67-4BB2-B1B4-26D56D317D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177" y="0"/>
            <a:ext cx="5191126" cy="91440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92C656B-3174-8541-8A8F-EEFC73B9B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" y="3966210"/>
            <a:ext cx="4779809" cy="261439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FBF587-FDE8-4A49-9087-80777F5D7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868680"/>
            <a:ext cx="4663499" cy="23435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3FEE7B-B6DB-47D2-8107-C948926C19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B876A116-DD1D-4ECB-A354-699E1F21F6C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086600" y="2057400"/>
            <a:ext cx="8357616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4B35E7E-61AA-423F-A751-B9DA99874F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2EAC8E-48CC-4D31-90A9-64B96E879BD1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9489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2DD797-EF54-425D-A7CF-386E637A5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EFEF01-31B1-41D1-8768-41AEA2E12F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061210"/>
            <a:ext cx="6858000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53C49F0-CE82-4EED-BA56-F78BC46350D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595360" y="2061210"/>
            <a:ext cx="6858000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8FADFBF-9CA4-456F-BBB8-1D23B0E3163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944063-20CE-4E04-88C4-499CD16D708F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331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50E4D3-554F-4EDC-A7CD-28E05B1025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60" y="1609714"/>
            <a:ext cx="14630400" cy="44638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  <a:lvl2pPr marL="3175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2DD797-EF54-425D-A7CF-386E637A5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D59298B-A987-42E3-A7E9-213ADB03F66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514600"/>
            <a:ext cx="6858000" cy="54902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A588A03-89C7-4B46-9634-8EA16353551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595360" y="2514600"/>
            <a:ext cx="6858000" cy="54902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771DE3F-C808-48DA-BE92-562C742864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A17F6E-4685-45D9-A147-C599083714AD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76315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F5CE07-F24F-4867-A13A-760F19E8BB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22960" y="2057399"/>
            <a:ext cx="6858000" cy="2286001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imag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2DD797-EF54-425D-A7CF-386E637A5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ECE7FB66-F265-474B-B58E-072044F16DA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86216" y="2057400"/>
            <a:ext cx="6858000" cy="2286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imag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77461BD2-2A47-492C-BF7D-9764B2E71E8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4572000"/>
            <a:ext cx="6858000" cy="34328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E764BAF-F952-4CC2-92C6-0970A6BA0F8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595360" y="4572000"/>
            <a:ext cx="6858000" cy="34328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935EB5D-EA2F-41A7-BE38-BB788645DB2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9A9D39-EB08-45DD-8C14-BF8E19CDC3E8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634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F5CE07-F24F-4867-A13A-760F19E8BB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22960" y="2526029"/>
            <a:ext cx="6858000" cy="2286001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imag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2DD797-EF54-425D-A7CF-386E637A5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ECE7FB66-F265-474B-B58E-072044F16DA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86216" y="2526030"/>
            <a:ext cx="6858000" cy="2286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DF0CE24-2D40-47B1-BC8B-ADE5C77B01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2960" y="1609714"/>
            <a:ext cx="14630400" cy="44638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  <a:lvl2pPr marL="3175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3DE4608-8DD4-450D-88C7-2E10C2F07ED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5049118"/>
            <a:ext cx="6858000" cy="295569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38A3658-1EBD-45DC-9E71-389C81F816B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595360" y="5049118"/>
            <a:ext cx="6858000" cy="295569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560486CA-37B8-4263-B6E9-1A0E3DD1D4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7632EE-5B3F-4FEB-8B1F-F40B0DEEE502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7890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243FDD2-5BCF-4A02-8E37-FAF9EDAF5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B2CD8E8-9E72-4D56-90B0-0B8A6D04302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057400"/>
            <a:ext cx="4663440" cy="59474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571EAEF-C867-4DD2-82CD-7FAE4C6472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01360" y="2057400"/>
            <a:ext cx="4663440" cy="59474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0AAD84C-DAAE-47A6-9E77-BB412A8CC96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779760" y="2057400"/>
            <a:ext cx="4663440" cy="59474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0F6E01D8-F55D-410C-BDE0-33326A467B2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422270-E49E-4060-8535-944745EF887E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4448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1C6FB-F69F-499E-A307-42AED980E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24951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20EBD7-A933-F291-406A-E6AEE554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03D07D-2D73-BA55-BB1B-D2BEA64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2E740E4-D19F-6096-D0FA-C2900366EA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856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243FDD2-5BCF-4A02-8E37-FAF9EDAF5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D2C4081-7BCC-4188-A50E-DCF1605DCE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2960" y="1609714"/>
            <a:ext cx="14630400" cy="44638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  <a:lvl2pPr marL="3175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74E883C-E2FC-4F58-9009-05A617756BE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514600"/>
            <a:ext cx="4663440" cy="54902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D92914-45A2-4D3F-BB10-6361AFD0F9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01360" y="2514600"/>
            <a:ext cx="4663440" cy="54902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BC51BB8D-3F88-4E9E-9FF1-E90150FB0E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779760" y="2514600"/>
            <a:ext cx="4663440" cy="549021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B5BD01A-7674-4EC1-B21E-7B22ADD703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204FBD-7943-4B37-B80E-EDE3C4884F32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262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82B100B-D865-4AF1-B607-869036CFA7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2960" y="2057401"/>
            <a:ext cx="4663497" cy="259898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73AE5AB5-B478-4DEC-8179-A5178D9F6F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96252" y="2057400"/>
            <a:ext cx="4663497" cy="262321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643BE7A-F7EF-497B-99BD-03886383854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779703" y="2057400"/>
            <a:ext cx="4663497" cy="262321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243FDD2-5BCF-4A02-8E37-FAF9EDAF5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D6057C2-5A0C-4397-AA98-E442903021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4909217"/>
            <a:ext cx="4663440" cy="309559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A1BE599-0C55-4A6D-94F3-038E91A861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01360" y="4909217"/>
            <a:ext cx="4663440" cy="309559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62F3A41E-5A11-49B5-8EA8-87697C4F0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779760" y="4909217"/>
            <a:ext cx="4663440" cy="309559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7DB5184F-A06E-48C5-8540-48C8A3228D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F42F689-B550-4D96-BA81-95052853B784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564209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 and sub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82B100B-D865-4AF1-B607-869036CFA7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2960" y="2526031"/>
            <a:ext cx="4663497" cy="259898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73AE5AB5-B478-4DEC-8179-A5178D9F6F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81723" y="2526030"/>
            <a:ext cx="4663497" cy="262321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643BE7A-F7EF-497B-99BD-03886383854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750646" y="2526030"/>
            <a:ext cx="4663497" cy="262321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 marL="932688" indent="-457200"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add an imag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243FDD2-5BCF-4A02-8E37-FAF9EDAF51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093F248-4515-4018-A939-237E6A16A8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960" y="1609714"/>
            <a:ext cx="14630400" cy="44638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  <a:lvl2pPr marL="3175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407088B2-79DF-4159-A896-9B7D6E3C28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5372101"/>
            <a:ext cx="4663440" cy="263270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EC837C56-2218-4495-BC37-A1F9C5C3A01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01360" y="5372101"/>
            <a:ext cx="4663440" cy="263270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FCED20DE-29A0-4ADB-8DDD-23506BB8B2C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779760" y="5372101"/>
            <a:ext cx="4663440" cy="263270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1FD7BBD3-E51E-4FFC-8702-5B8A2C8500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ACF157-5D7A-4E31-9C79-6D8A791CFCCB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9952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2A3EC49-0EBF-934E-91BA-79B6AD475FFE}"/>
              </a:ext>
            </a:extLst>
          </p:cNvPr>
          <p:cNvSpPr/>
          <p:nvPr userDrawn="1"/>
        </p:nvSpPr>
        <p:spPr bwMode="hidden">
          <a:xfrm>
            <a:off x="10758102" y="2048256"/>
            <a:ext cx="5497898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3B1029-3D65-B84A-A254-5217144DBA58}"/>
              </a:ext>
            </a:extLst>
          </p:cNvPr>
          <p:cNvSpPr/>
          <p:nvPr userDrawn="1"/>
        </p:nvSpPr>
        <p:spPr bwMode="hidden">
          <a:xfrm>
            <a:off x="5790531" y="2048256"/>
            <a:ext cx="4683097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8AA3504-A3CC-4CD3-A78A-2E2FE2301C4F}"/>
              </a:ext>
            </a:extLst>
          </p:cNvPr>
          <p:cNvSpPr/>
          <p:nvPr userDrawn="1"/>
        </p:nvSpPr>
        <p:spPr bwMode="hidden">
          <a:xfrm>
            <a:off x="822960" y="2048256"/>
            <a:ext cx="4683097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417AE2-412E-4C0D-8FE0-27D6CB516AE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sp>
        <p:nvSpPr>
          <p:cNvPr id="90" name="Text Placeholder 16">
            <a:extLst>
              <a:ext uri="{FF2B5EF4-FFF2-40B4-BE49-F238E27FC236}">
                <a16:creationId xmlns:a16="http://schemas.microsoft.com/office/drawing/2014/main" id="{BE9FDF36-69C2-4879-A893-6E3AFADCEC6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62643" y="5001768"/>
            <a:ext cx="399234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91" name="Text Placeholder 16">
            <a:extLst>
              <a:ext uri="{FF2B5EF4-FFF2-40B4-BE49-F238E27FC236}">
                <a16:creationId xmlns:a16="http://schemas.microsoft.com/office/drawing/2014/main" id="{B39C7FA8-67BB-43DD-A186-FE2AD20BA36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62643" y="6089904"/>
            <a:ext cx="399234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93" name="Text Placeholder 16">
            <a:extLst>
              <a:ext uri="{FF2B5EF4-FFF2-40B4-BE49-F238E27FC236}">
                <a16:creationId xmlns:a16="http://schemas.microsoft.com/office/drawing/2014/main" id="{78D54533-2D20-477B-A683-600BFABC771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6134568" y="5001768"/>
            <a:ext cx="399234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94" name="Text Placeholder 16">
            <a:extLst>
              <a:ext uri="{FF2B5EF4-FFF2-40B4-BE49-F238E27FC236}">
                <a16:creationId xmlns:a16="http://schemas.microsoft.com/office/drawing/2014/main" id="{3FEDBCA1-F258-4916-9CCF-85801547E6A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4568" y="6089904"/>
            <a:ext cx="399234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96" name="Text Placeholder 16">
            <a:extLst>
              <a:ext uri="{FF2B5EF4-FFF2-40B4-BE49-F238E27FC236}">
                <a16:creationId xmlns:a16="http://schemas.microsoft.com/office/drawing/2014/main" id="{886B26B5-A801-4D68-BC47-DC1257EA6348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1106494" y="5001768"/>
            <a:ext cx="399234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97" name="Text Placeholder 16">
            <a:extLst>
              <a:ext uri="{FF2B5EF4-FFF2-40B4-BE49-F238E27FC236}">
                <a16:creationId xmlns:a16="http://schemas.microsoft.com/office/drawing/2014/main" id="{CB55DF53-8257-4AB2-A05E-9EA51E0AA690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1106494" y="6089904"/>
            <a:ext cx="399234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2C3F492-CBF3-4747-9DA1-8072E2687F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9FA7C6-F6CC-4E10-8D77-CFEB10CECE9B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244416" y="2675765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9606EEDB-6323-4147-8F3C-8AB45374423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7216342" y="2675765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96B7EAE9-0F62-4D37-B0EE-F76B9AED97F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2188267" y="2675765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22F5086-3342-49D4-80DD-989B6992AD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0DEF1F-1F96-4FC2-AAE2-0EDCA39E090F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004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0137BEE-B921-A945-80E6-C38B95E92354}"/>
              </a:ext>
            </a:extLst>
          </p:cNvPr>
          <p:cNvSpPr/>
          <p:nvPr userDrawn="1"/>
        </p:nvSpPr>
        <p:spPr bwMode="white">
          <a:xfrm>
            <a:off x="11994606" y="2043364"/>
            <a:ext cx="4261394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BBE990-CD1D-304C-A878-01462CB32A74}"/>
              </a:ext>
            </a:extLst>
          </p:cNvPr>
          <p:cNvSpPr/>
          <p:nvPr userDrawn="1"/>
        </p:nvSpPr>
        <p:spPr bwMode="white">
          <a:xfrm>
            <a:off x="8270724" y="2043364"/>
            <a:ext cx="3445240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9273FC-712D-7341-852B-1F9A92698452}"/>
              </a:ext>
            </a:extLst>
          </p:cNvPr>
          <p:cNvSpPr/>
          <p:nvPr userDrawn="1"/>
        </p:nvSpPr>
        <p:spPr bwMode="white">
          <a:xfrm>
            <a:off x="4546842" y="2043364"/>
            <a:ext cx="3445240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F1EED4-9C02-4A24-A994-AD388A2977C2}"/>
              </a:ext>
            </a:extLst>
          </p:cNvPr>
          <p:cNvSpPr/>
          <p:nvPr userDrawn="1"/>
        </p:nvSpPr>
        <p:spPr bwMode="white">
          <a:xfrm>
            <a:off x="822960" y="2043364"/>
            <a:ext cx="3445240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6E45A0-DE19-41AA-9EA2-68795CBC79E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sp>
        <p:nvSpPr>
          <p:cNvPr id="100" name="Text Placeholder 16">
            <a:extLst>
              <a:ext uri="{FF2B5EF4-FFF2-40B4-BE49-F238E27FC236}">
                <a16:creationId xmlns:a16="http://schemas.microsoft.com/office/drawing/2014/main" id="{5A7BA6A7-7413-4691-9BCE-7270805F8E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088752" y="5005139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01" name="Text Placeholder 16">
            <a:extLst>
              <a:ext uri="{FF2B5EF4-FFF2-40B4-BE49-F238E27FC236}">
                <a16:creationId xmlns:a16="http://schemas.microsoft.com/office/drawing/2014/main" id="{03664417-C953-422F-8447-3E2931045DC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88752" y="6089436"/>
            <a:ext cx="289333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03" name="Text Placeholder 16">
            <a:extLst>
              <a:ext uri="{FF2B5EF4-FFF2-40B4-BE49-F238E27FC236}">
                <a16:creationId xmlns:a16="http://schemas.microsoft.com/office/drawing/2014/main" id="{66BE1E77-0A9F-49A8-B7B3-9B807B658E2B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815117" y="5005139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04" name="Text Placeholder 16">
            <a:extLst>
              <a:ext uri="{FF2B5EF4-FFF2-40B4-BE49-F238E27FC236}">
                <a16:creationId xmlns:a16="http://schemas.microsoft.com/office/drawing/2014/main" id="{E0CF0EE8-1C57-449B-A7AD-F5EAEAF6C03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815117" y="6089436"/>
            <a:ext cx="289333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06" name="Text Placeholder 16">
            <a:extLst>
              <a:ext uri="{FF2B5EF4-FFF2-40B4-BE49-F238E27FC236}">
                <a16:creationId xmlns:a16="http://schemas.microsoft.com/office/drawing/2014/main" id="{B357F2CF-DACC-49FE-B1A9-1957C3FF4F23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41482" y="5005139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07" name="Text Placeholder 16">
            <a:extLst>
              <a:ext uri="{FF2B5EF4-FFF2-40B4-BE49-F238E27FC236}">
                <a16:creationId xmlns:a16="http://schemas.microsoft.com/office/drawing/2014/main" id="{74DA2522-CBA4-4840-B47C-35F7ED830E9A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541482" y="6089436"/>
            <a:ext cx="289333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09" name="Text Placeholder 16">
            <a:extLst>
              <a:ext uri="{FF2B5EF4-FFF2-40B4-BE49-F238E27FC236}">
                <a16:creationId xmlns:a16="http://schemas.microsoft.com/office/drawing/2014/main" id="{50637BA2-3E16-47E1-BECC-085330E93B07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2267846" y="5005139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0" name="Text Placeholder 16">
            <a:extLst>
              <a:ext uri="{FF2B5EF4-FFF2-40B4-BE49-F238E27FC236}">
                <a16:creationId xmlns:a16="http://schemas.microsoft.com/office/drawing/2014/main" id="{7F53B2DA-D14F-45BF-8D45-3FEF61013FCE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267846" y="6089436"/>
            <a:ext cx="2893337" cy="13677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0181245-24A2-4E6A-A250-6F1DC11967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06FC5E8E-4259-415D-A9D8-D694FB70DCB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621020" y="2667909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1DFE7C49-E4A7-4641-84AA-F150A0611DE3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347385" y="2667909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53E94D38-4825-4033-BD83-B090929B6B4E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073750" y="2667909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66A7F621-56C7-4AD8-947D-E96AE7B3CBDD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2800114" y="2667909"/>
            <a:ext cx="1828800" cy="18288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Slide Number Placeholder 4">
            <a:extLst>
              <a:ext uri="{FF2B5EF4-FFF2-40B4-BE49-F238E27FC236}">
                <a16:creationId xmlns:a16="http://schemas.microsoft.com/office/drawing/2014/main" id="{B5A39FE9-D6A1-4B6A-97A2-FF81C939AF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F58256B-F2F3-45EB-ABFE-E5BF956AB33B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tx2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88540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83C7082-0128-4664-9BDB-D40230454C3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5365214" cy="9144000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491C541F-5BAE-4F41-8844-B6AC302BDA7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" y="919391"/>
            <a:ext cx="2953082" cy="89442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mage icon to place a white or reversed logo in this area. Make sure that your logo fits proportionately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585E864-F49D-48A2-A90F-09E4EB6071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960" y="3050598"/>
            <a:ext cx="5013546" cy="3402126"/>
          </a:xfrm>
          <a:prstGeom prst="rect">
            <a:avLst/>
          </a:prstGeom>
          <a:gradFill flip="none" rotWithShape="1">
            <a:gsLst>
              <a:gs pos="45000">
                <a:schemeClr val="accent2">
                  <a:alpha val="93000"/>
                </a:schemeClr>
              </a:gs>
              <a:gs pos="100000">
                <a:schemeClr val="accent1"/>
              </a:gs>
              <a:gs pos="0">
                <a:schemeClr val="accent2">
                  <a:alpha val="85000"/>
                </a:schemeClr>
              </a:gs>
            </a:gsLst>
            <a:lin ang="13500000" scaled="1"/>
            <a:tileRect/>
          </a:gradFill>
        </p:spPr>
        <p:txBody>
          <a:bodyPr lIns="274320" tIns="274320" rIns="274320" bIns="45720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33" name="Content Placeholder 16">
            <a:extLst>
              <a:ext uri="{FF2B5EF4-FFF2-40B4-BE49-F238E27FC236}">
                <a16:creationId xmlns:a16="http://schemas.microsoft.com/office/drawing/2014/main" id="{83755F43-A351-45FF-854E-376996DB972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" y="7391055"/>
            <a:ext cx="2073707" cy="61535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1400" b="1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Read full case study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AA3335D-FCA4-471C-9D6C-DC4C34E82A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8784" y="5633358"/>
            <a:ext cx="3777536" cy="603876"/>
          </a:xfrm>
          <a:prstGeom prst="rect">
            <a:avLst/>
          </a:prstGeom>
        </p:spPr>
        <p:txBody>
          <a:bodyPr>
            <a:noAutofit/>
          </a:bodyPr>
          <a:lstStyle>
            <a:lvl1pPr marL="12700" indent="0"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1600" b="1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6pPr>
            <a:lvl7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7pPr>
            <a:lvl8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8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uote source name, title, company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0181245-24A2-4E6A-A250-6F1DC11967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E0434EAA-91B5-42C1-BECF-A72AA1CB9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77A47A3-4B40-4292-BEBC-448B3AD67455}"/>
              </a:ext>
            </a:extLst>
          </p:cNvPr>
          <p:cNvSpPr txBox="1"/>
          <p:nvPr userDrawn="1"/>
        </p:nvSpPr>
        <p:spPr>
          <a:xfrm>
            <a:off x="6299047" y="2957608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6350" indent="0" algn="l">
              <a:buFontTx/>
              <a:buNone/>
              <a:tabLst/>
            </a:pPr>
            <a:r>
              <a:rPr lang="en-US" sz="1600" b="1">
                <a:solidFill>
                  <a:schemeClr val="accent2"/>
                </a:solidFill>
              </a:rPr>
              <a:t>CHALLENG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9F75AC-3771-46AC-A142-355E85B4751A}"/>
              </a:ext>
            </a:extLst>
          </p:cNvPr>
          <p:cNvSpPr txBox="1"/>
          <p:nvPr userDrawn="1"/>
        </p:nvSpPr>
        <p:spPr>
          <a:xfrm>
            <a:off x="9542764" y="2957608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SOLU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20B41C-BCEA-4791-A67F-7823C8D8B463}"/>
              </a:ext>
            </a:extLst>
          </p:cNvPr>
          <p:cNvSpPr txBox="1"/>
          <p:nvPr userDrawn="1"/>
        </p:nvSpPr>
        <p:spPr>
          <a:xfrm>
            <a:off x="12702130" y="2957609"/>
            <a:ext cx="2382081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RESULTS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F09A91BF-EF16-4749-BF18-094CE864278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99047" y="3532777"/>
            <a:ext cx="2743200" cy="4018584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1BAE81F6-559B-4DEE-A9A8-B422C6D1DF2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542764" y="3532777"/>
            <a:ext cx="2743200" cy="4018584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6D359901-06E6-4E1E-BC97-09B70A13D61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702130" y="3532777"/>
            <a:ext cx="2743200" cy="4018584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9B93EC-5EC6-4EA8-8D04-E31777308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99047" y="3296162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76F20-62A1-4AC0-883C-3E2425022ADD}"/>
              </a:ext>
            </a:extLst>
          </p:cNvPr>
          <p:cNvCxnSpPr>
            <a:cxnSpLocks/>
          </p:cNvCxnSpPr>
          <p:nvPr userDrawn="1"/>
        </p:nvCxnSpPr>
        <p:spPr>
          <a:xfrm flipH="1">
            <a:off x="9542764" y="3296162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FF515DE-D450-49BD-B79E-A6D7E6AC677E}"/>
              </a:ext>
            </a:extLst>
          </p:cNvPr>
          <p:cNvCxnSpPr>
            <a:cxnSpLocks/>
          </p:cNvCxnSpPr>
          <p:nvPr userDrawn="1"/>
        </p:nvCxnSpPr>
        <p:spPr>
          <a:xfrm flipH="1">
            <a:off x="12702130" y="3296162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DA09A278-B343-4598-9C41-3EB5C1997A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702" y="292608"/>
            <a:ext cx="9037513" cy="1202916"/>
          </a:xfrm>
        </p:spPr>
        <p:txBody>
          <a:bodyPr/>
          <a:lstStyle/>
          <a:p>
            <a:r>
              <a:rPr lang="en-US"/>
              <a:t>Click to edit your title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240283FC-B06D-4271-831D-CE52930AAC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848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58948FC-CC7A-4704-9A2C-B14B46312048}"/>
              </a:ext>
            </a:extLst>
          </p:cNvPr>
          <p:cNvSpPr txBox="1"/>
          <p:nvPr userDrawn="1"/>
        </p:nvSpPr>
        <p:spPr>
          <a:xfrm>
            <a:off x="1624330" y="8565763"/>
            <a:ext cx="4959351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8126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1"/>
            </a:lvl1pPr>
            <a:lvl2pPr marL="27432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 marL="640080" indent="-228600" defTabSz="8126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3pPr>
            <a:lvl4pPr marL="1005840" indent="-228600" defTabSz="8126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800" b="0">
                <a:solidFill>
                  <a:schemeClr val="bg1"/>
                </a:solidFill>
              </a:defRPr>
            </a:lvl4pPr>
            <a:lvl5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3200" b="1"/>
            </a:lvl5pPr>
            <a:lvl6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6pPr>
            <a:lvl7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7pPr>
            <a:lvl8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8pPr>
            <a:lvl9pPr marL="0" indent="0" defTabSz="8126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b="1"/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© Flex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0972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Bur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EEBCD5-F3B9-4D63-920F-C9F1558FD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98E6F1-FB6B-4E26-B810-E7FC6B5401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64725" y="0"/>
            <a:ext cx="6391275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28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58946E-7637-4304-A317-3DB2F2F70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0949" y="0"/>
            <a:ext cx="61150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96A9F6-84EA-4F05-9E24-F3CA3B2D3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28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Connected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C1325F-6F39-42D1-A39F-0172F3ED6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559" y="4085519"/>
            <a:ext cx="14089441" cy="50584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CB5A1E-0F64-4CCE-A986-7B6D21B2EB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4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Ribb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72E4D3-BC29-4B89-984E-F26E11E450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31049" y="0"/>
            <a:ext cx="91249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88964C-91B1-436C-8775-060C3843C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175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2F4A2D-8595-41FB-9946-4C590E9601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084725"/>
            <a:ext cx="7401958" cy="8059275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F31667C-FC86-1500-81BD-67AB73431E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23DC364-8E83-3299-810A-241189448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7230999F-97E0-98CB-AE72-BD1228D99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854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Rip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82DA98-5168-489B-BD27-62D0E4FCFD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3351" y="1084725"/>
            <a:ext cx="7401958" cy="80592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EF7F4-D864-4C22-919A-09743A9D20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91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W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856285-C576-9644-9658-CDC004412F87}"/>
              </a:ext>
            </a:extLst>
          </p:cNvPr>
          <p:cNvSpPr/>
          <p:nvPr/>
        </p:nvSpPr>
        <p:spPr bwMode="hidden">
          <a:xfrm>
            <a:off x="0" y="0"/>
            <a:ext cx="1625600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C892F5-BF7B-49F6-A81C-78C435F033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4874" y="0"/>
            <a:ext cx="5191126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4D0273-C91D-4817-B0E0-8AC4B36EC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44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" name="Picture 183">
            <a:extLst>
              <a:ext uri="{FF2B5EF4-FFF2-40B4-BE49-F238E27FC236}">
                <a16:creationId xmlns:a16="http://schemas.microsoft.com/office/drawing/2014/main" id="{F4964DAD-1588-4B43-BA28-7F5A258DD4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067" y="35661600"/>
            <a:ext cx="14899915" cy="1548518"/>
          </a:xfrm>
          <a:prstGeom prst="rect">
            <a:avLst/>
          </a:prstGeom>
        </p:spPr>
      </p:pic>
      <p:grpSp>
        <p:nvGrpSpPr>
          <p:cNvPr id="369" name="Group 368">
            <a:extLst>
              <a:ext uri="{FF2B5EF4-FFF2-40B4-BE49-F238E27FC236}">
                <a16:creationId xmlns:a16="http://schemas.microsoft.com/office/drawing/2014/main" id="{AAFBF8FC-C743-408A-A4A2-FF666B13F17E}"/>
              </a:ext>
            </a:extLst>
          </p:cNvPr>
          <p:cNvGrpSpPr/>
          <p:nvPr/>
        </p:nvGrpSpPr>
        <p:grpSpPr>
          <a:xfrm>
            <a:off x="16391113" y="228606"/>
            <a:ext cx="1643392" cy="8400847"/>
            <a:chOff x="16391113" y="228606"/>
            <a:chExt cx="1643392" cy="8400847"/>
          </a:xfrm>
        </p:grpSpPr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F62E36F9-6A84-431E-976E-12190619DE38}"/>
                </a:ext>
              </a:extLst>
            </p:cNvPr>
            <p:cNvGrpSpPr/>
            <p:nvPr/>
          </p:nvGrpSpPr>
          <p:grpSpPr>
            <a:xfrm>
              <a:off x="16391113" y="873529"/>
              <a:ext cx="1643390" cy="429597"/>
              <a:chOff x="6816359" y="258274"/>
              <a:chExt cx="2729212" cy="763782"/>
            </a:xfrm>
            <a:solidFill>
              <a:schemeClr val="tx1"/>
            </a:solidFill>
          </p:grpSpPr>
          <p:sp>
            <p:nvSpPr>
              <p:cNvPr id="414" name="TextBox 413">
                <a:extLst>
                  <a:ext uri="{FF2B5EF4-FFF2-40B4-BE49-F238E27FC236}">
                    <a16:creationId xmlns:a16="http://schemas.microsoft.com/office/drawing/2014/main" id="{BA44C3CE-BE56-4AAC-86A2-0F0A01082649}"/>
                  </a:ext>
                </a:extLst>
              </p:cNvPr>
              <p:cNvSpPr txBox="1"/>
              <p:nvPr/>
            </p:nvSpPr>
            <p:spPr>
              <a:xfrm>
                <a:off x="6911916" y="258274"/>
                <a:ext cx="2633655" cy="763782"/>
              </a:xfrm>
              <a:prstGeom prst="rect">
                <a:avLst/>
              </a:prstGeom>
              <a:grp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en-US" sz="900" b="1">
                    <a:solidFill>
                      <a:schemeClr val="bg1"/>
                    </a:solidFill>
                  </a:rPr>
                  <a:t>Title Area</a:t>
                </a:r>
              </a:p>
            </p:txBody>
          </p:sp>
          <p:cxnSp>
            <p:nvCxnSpPr>
              <p:cNvPr id="415" name="Straight Arrow Connector 414">
                <a:extLst>
                  <a:ext uri="{FF2B5EF4-FFF2-40B4-BE49-F238E27FC236}">
                    <a16:creationId xmlns:a16="http://schemas.microsoft.com/office/drawing/2014/main" id="{8ED47C83-A7FE-48BF-8D9C-2EED6DFFE84A}"/>
                  </a:ext>
                </a:extLst>
              </p:cNvPr>
              <p:cNvCxnSpPr/>
              <p:nvPr/>
            </p:nvCxnSpPr>
            <p:spPr>
              <a:xfrm>
                <a:off x="6816359" y="258274"/>
                <a:ext cx="0" cy="763782"/>
              </a:xfrm>
              <a:prstGeom prst="straightConnector1">
                <a:avLst/>
              </a:prstGeom>
              <a:grpFill/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 w="sm" len="sm"/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2" name="Group 401">
              <a:extLst>
                <a:ext uri="{FF2B5EF4-FFF2-40B4-BE49-F238E27FC236}">
                  <a16:creationId xmlns:a16="http://schemas.microsoft.com/office/drawing/2014/main" id="{0941E687-3FA2-4D02-B84A-4356222E51A2}"/>
                </a:ext>
              </a:extLst>
            </p:cNvPr>
            <p:cNvGrpSpPr/>
            <p:nvPr/>
          </p:nvGrpSpPr>
          <p:grpSpPr>
            <a:xfrm>
              <a:off x="16391113" y="7984708"/>
              <a:ext cx="1643392" cy="190760"/>
              <a:chOff x="6816359" y="6061558"/>
              <a:chExt cx="2729216" cy="211439"/>
            </a:xfrm>
            <a:solidFill>
              <a:schemeClr val="tx1"/>
            </a:solidFill>
          </p:grpSpPr>
          <p:sp>
            <p:nvSpPr>
              <p:cNvPr id="412" name="TextBox 411">
                <a:extLst>
                  <a:ext uri="{FF2B5EF4-FFF2-40B4-BE49-F238E27FC236}">
                    <a16:creationId xmlns:a16="http://schemas.microsoft.com/office/drawing/2014/main" id="{41542C8B-AF22-4FAB-9B84-1DA754ABA30D}"/>
                  </a:ext>
                </a:extLst>
              </p:cNvPr>
              <p:cNvSpPr txBox="1"/>
              <p:nvPr/>
            </p:nvSpPr>
            <p:spPr>
              <a:xfrm>
                <a:off x="6905715" y="6061558"/>
                <a:ext cx="2639860" cy="210510"/>
              </a:xfrm>
              <a:prstGeom prst="rect">
                <a:avLst/>
              </a:prstGeom>
              <a:grp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en-US" sz="900" b="1">
                    <a:solidFill>
                      <a:schemeClr val="bg1"/>
                    </a:solidFill>
                  </a:rPr>
                  <a:t>Suggested Source Area</a:t>
                </a:r>
              </a:p>
            </p:txBody>
          </p:sp>
          <p:cxnSp>
            <p:nvCxnSpPr>
              <p:cNvPr id="413" name="Straight Arrow Connector 412">
                <a:extLst>
                  <a:ext uri="{FF2B5EF4-FFF2-40B4-BE49-F238E27FC236}">
                    <a16:creationId xmlns:a16="http://schemas.microsoft.com/office/drawing/2014/main" id="{B9B0667C-0332-4944-8368-57ACE38F2294}"/>
                  </a:ext>
                </a:extLst>
              </p:cNvPr>
              <p:cNvCxnSpPr/>
              <p:nvPr/>
            </p:nvCxnSpPr>
            <p:spPr>
              <a:xfrm>
                <a:off x="6816359" y="6062487"/>
                <a:ext cx="0" cy="210510"/>
              </a:xfrm>
              <a:prstGeom prst="straightConnector1">
                <a:avLst/>
              </a:prstGeom>
              <a:grpFill/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 w="sm" len="sm"/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3" name="Group 402">
              <a:extLst>
                <a:ext uri="{FF2B5EF4-FFF2-40B4-BE49-F238E27FC236}">
                  <a16:creationId xmlns:a16="http://schemas.microsoft.com/office/drawing/2014/main" id="{E30F75F7-D118-4B53-88E8-2157693065F7}"/>
                </a:ext>
              </a:extLst>
            </p:cNvPr>
            <p:cNvGrpSpPr/>
            <p:nvPr/>
          </p:nvGrpSpPr>
          <p:grpSpPr>
            <a:xfrm>
              <a:off x="16391113" y="1680123"/>
              <a:ext cx="1643390" cy="6122307"/>
              <a:chOff x="6816359" y="258274"/>
              <a:chExt cx="2729212" cy="763782"/>
            </a:xfrm>
            <a:solidFill>
              <a:schemeClr val="tx1"/>
            </a:solidFill>
          </p:grpSpPr>
          <p:sp>
            <p:nvSpPr>
              <p:cNvPr id="410" name="TextBox 409">
                <a:extLst>
                  <a:ext uri="{FF2B5EF4-FFF2-40B4-BE49-F238E27FC236}">
                    <a16:creationId xmlns:a16="http://schemas.microsoft.com/office/drawing/2014/main" id="{478B5E85-1B8D-409C-8686-3F3FAE61E4B2}"/>
                  </a:ext>
                </a:extLst>
              </p:cNvPr>
              <p:cNvSpPr txBox="1"/>
              <p:nvPr/>
            </p:nvSpPr>
            <p:spPr>
              <a:xfrm>
                <a:off x="6911916" y="258274"/>
                <a:ext cx="2633655" cy="763782"/>
              </a:xfrm>
              <a:prstGeom prst="rect">
                <a:avLst/>
              </a:prstGeom>
              <a:grp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en-US" sz="900" b="1">
                    <a:solidFill>
                      <a:schemeClr val="bg1"/>
                    </a:solidFill>
                  </a:rPr>
                  <a:t>Primary Content Area</a:t>
                </a:r>
              </a:p>
            </p:txBody>
          </p:sp>
          <p:cxnSp>
            <p:nvCxnSpPr>
              <p:cNvPr id="411" name="Straight Arrow Connector 410">
                <a:extLst>
                  <a:ext uri="{FF2B5EF4-FFF2-40B4-BE49-F238E27FC236}">
                    <a16:creationId xmlns:a16="http://schemas.microsoft.com/office/drawing/2014/main" id="{3F007CF6-7CA3-4488-AA4A-51DF3E44F29F}"/>
                  </a:ext>
                </a:extLst>
              </p:cNvPr>
              <p:cNvCxnSpPr/>
              <p:nvPr/>
            </p:nvCxnSpPr>
            <p:spPr>
              <a:xfrm>
                <a:off x="6816359" y="258274"/>
                <a:ext cx="0" cy="763782"/>
              </a:xfrm>
              <a:prstGeom prst="straightConnector1">
                <a:avLst/>
              </a:prstGeom>
              <a:grpFill/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 w="sm" len="sm"/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1CF9A4BF-C5D3-4771-8318-EB39224ABFF9}"/>
                </a:ext>
              </a:extLst>
            </p:cNvPr>
            <p:cNvGrpSpPr/>
            <p:nvPr/>
          </p:nvGrpSpPr>
          <p:grpSpPr>
            <a:xfrm>
              <a:off x="16391113" y="228606"/>
              <a:ext cx="1643390" cy="644924"/>
              <a:chOff x="6816359" y="258274"/>
              <a:chExt cx="2729212" cy="763782"/>
            </a:xfrm>
          </p:grpSpPr>
          <p:sp>
            <p:nvSpPr>
              <p:cNvPr id="408" name="TextBox 407">
                <a:extLst>
                  <a:ext uri="{FF2B5EF4-FFF2-40B4-BE49-F238E27FC236}">
                    <a16:creationId xmlns:a16="http://schemas.microsoft.com/office/drawing/2014/main" id="{70CB5599-1DF3-4074-9A41-413EC5527F5A}"/>
                  </a:ext>
                </a:extLst>
              </p:cNvPr>
              <p:cNvSpPr txBox="1"/>
              <p:nvPr/>
            </p:nvSpPr>
            <p:spPr>
              <a:xfrm>
                <a:off x="6911916" y="258274"/>
                <a:ext cx="2633655" cy="763782"/>
              </a:xfrm>
              <a:prstGeom prst="rect">
                <a:avLst/>
              </a:prstGeom>
              <a:pattFill prst="ltUpDiag">
                <a:fgClr>
                  <a:schemeClr val="tx1">
                    <a:lumMod val="60000"/>
                    <a:lumOff val="40000"/>
                  </a:schemeClr>
                </a:fgClr>
                <a:bgClr>
                  <a:schemeClr val="tx1"/>
                </a:bgClr>
              </a:pattFill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en-US" sz="900" b="1">
                    <a:solidFill>
                      <a:schemeClr val="bg1"/>
                    </a:solidFill>
                  </a:rPr>
                  <a:t>Overflow Title Area</a:t>
                </a:r>
              </a:p>
            </p:txBody>
          </p:sp>
          <p:cxnSp>
            <p:nvCxnSpPr>
              <p:cNvPr id="409" name="Straight Arrow Connector 408">
                <a:extLst>
                  <a:ext uri="{FF2B5EF4-FFF2-40B4-BE49-F238E27FC236}">
                    <a16:creationId xmlns:a16="http://schemas.microsoft.com/office/drawing/2014/main" id="{68B2387C-6EAD-4CC5-B685-BD8E3DF0AE98}"/>
                  </a:ext>
                </a:extLst>
              </p:cNvPr>
              <p:cNvCxnSpPr/>
              <p:nvPr/>
            </p:nvCxnSpPr>
            <p:spPr>
              <a:xfrm>
                <a:off x="6816359" y="258274"/>
                <a:ext cx="0" cy="763782"/>
              </a:xfrm>
              <a:prstGeom prst="straightConnector1">
                <a:avLst/>
              </a:prstGeom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 w="sm" len="sm"/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1D51AB5C-A71F-4713-BA98-9522E975A010}"/>
                </a:ext>
              </a:extLst>
            </p:cNvPr>
            <p:cNvGrpSpPr/>
            <p:nvPr/>
          </p:nvGrpSpPr>
          <p:grpSpPr>
            <a:xfrm>
              <a:off x="16391113" y="8286995"/>
              <a:ext cx="1643392" cy="342458"/>
              <a:chOff x="6816359" y="6061558"/>
              <a:chExt cx="2729216" cy="211439"/>
            </a:xfrm>
            <a:solidFill>
              <a:schemeClr val="tx1"/>
            </a:solidFill>
          </p:grpSpPr>
          <p:sp>
            <p:nvSpPr>
              <p:cNvPr id="406" name="TextBox 405">
                <a:extLst>
                  <a:ext uri="{FF2B5EF4-FFF2-40B4-BE49-F238E27FC236}">
                    <a16:creationId xmlns:a16="http://schemas.microsoft.com/office/drawing/2014/main" id="{929CA122-BE8F-4716-88BF-A444EAC5D4D2}"/>
                  </a:ext>
                </a:extLst>
              </p:cNvPr>
              <p:cNvSpPr txBox="1"/>
              <p:nvPr/>
            </p:nvSpPr>
            <p:spPr>
              <a:xfrm>
                <a:off x="6905715" y="6061558"/>
                <a:ext cx="2639860" cy="210510"/>
              </a:xfrm>
              <a:prstGeom prst="rect">
                <a:avLst/>
              </a:prstGeom>
              <a:grp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en-US" sz="900" b="1">
                    <a:solidFill>
                      <a:schemeClr val="bg1"/>
                    </a:solidFill>
                  </a:rPr>
                  <a:t>Logo and Page Number</a:t>
                </a:r>
              </a:p>
            </p:txBody>
          </p:sp>
          <p:cxnSp>
            <p:nvCxnSpPr>
              <p:cNvPr id="407" name="Straight Arrow Connector 406">
                <a:extLst>
                  <a:ext uri="{FF2B5EF4-FFF2-40B4-BE49-F238E27FC236}">
                    <a16:creationId xmlns:a16="http://schemas.microsoft.com/office/drawing/2014/main" id="{FE87EB25-B309-4603-A1FA-07097B8B737E}"/>
                  </a:ext>
                </a:extLst>
              </p:cNvPr>
              <p:cNvCxnSpPr/>
              <p:nvPr/>
            </p:nvCxnSpPr>
            <p:spPr>
              <a:xfrm>
                <a:off x="6816359" y="6062487"/>
                <a:ext cx="0" cy="210510"/>
              </a:xfrm>
              <a:prstGeom prst="straightConnector1">
                <a:avLst/>
              </a:prstGeom>
              <a:grpFill/>
              <a:ln w="12700">
                <a:solidFill>
                  <a:schemeClr val="tx1">
                    <a:lumMod val="75000"/>
                    <a:lumOff val="25000"/>
                  </a:schemeClr>
                </a:solidFill>
                <a:headEnd type="triangle" w="sm" len="sm"/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F7633B5-4455-40FC-BED3-E87E5D37D86C}"/>
              </a:ext>
            </a:extLst>
          </p:cNvPr>
          <p:cNvGrpSpPr/>
          <p:nvPr userDrawn="1"/>
        </p:nvGrpSpPr>
        <p:grpSpPr>
          <a:xfrm>
            <a:off x="-72174" y="0"/>
            <a:ext cx="16405748" cy="9384632"/>
            <a:chOff x="-72174" y="-204544"/>
            <a:chExt cx="16405748" cy="9585835"/>
          </a:xfrm>
        </p:grpSpPr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F9C94DC-D1F0-464B-AE9B-9FB2FFF0426B}"/>
                </a:ext>
              </a:extLst>
            </p:cNvPr>
            <p:cNvGrpSpPr/>
            <p:nvPr/>
          </p:nvGrpSpPr>
          <p:grpSpPr>
            <a:xfrm>
              <a:off x="828675" y="1896965"/>
              <a:ext cx="14615656" cy="6087743"/>
              <a:chOff x="525688" y="965357"/>
              <a:chExt cx="11154401" cy="5631831"/>
            </a:xfrm>
          </p:grpSpPr>
          <p:sp>
            <p:nvSpPr>
              <p:cNvPr id="389" name="Rectangle 388">
                <a:extLst>
                  <a:ext uri="{FF2B5EF4-FFF2-40B4-BE49-F238E27FC236}">
                    <a16:creationId xmlns:a16="http://schemas.microsoft.com/office/drawing/2014/main" id="{7FD3E0D4-26D8-477C-81E9-E05DCFFA82FA}"/>
                  </a:ext>
                </a:extLst>
              </p:cNvPr>
              <p:cNvSpPr/>
              <p:nvPr/>
            </p:nvSpPr>
            <p:spPr>
              <a:xfrm>
                <a:off x="525688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0" name="Rectangle 389">
                <a:extLst>
                  <a:ext uri="{FF2B5EF4-FFF2-40B4-BE49-F238E27FC236}">
                    <a16:creationId xmlns:a16="http://schemas.microsoft.com/office/drawing/2014/main" id="{8CBD9651-3189-42AA-8984-0AFB159FC0EA}"/>
                  </a:ext>
                </a:extLst>
              </p:cNvPr>
              <p:cNvSpPr/>
              <p:nvPr/>
            </p:nvSpPr>
            <p:spPr>
              <a:xfrm>
                <a:off x="1473222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1" name="Rectangle 390">
                <a:extLst>
                  <a:ext uri="{FF2B5EF4-FFF2-40B4-BE49-F238E27FC236}">
                    <a16:creationId xmlns:a16="http://schemas.microsoft.com/office/drawing/2014/main" id="{81988AB6-21B7-481C-B595-3F780F3E9F53}"/>
                  </a:ext>
                </a:extLst>
              </p:cNvPr>
              <p:cNvSpPr/>
              <p:nvPr/>
            </p:nvSpPr>
            <p:spPr>
              <a:xfrm>
                <a:off x="2420757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2" name="Rectangle 391">
                <a:extLst>
                  <a:ext uri="{FF2B5EF4-FFF2-40B4-BE49-F238E27FC236}">
                    <a16:creationId xmlns:a16="http://schemas.microsoft.com/office/drawing/2014/main" id="{39DDE36E-32F7-460B-988A-D31B6132E9EA}"/>
                  </a:ext>
                </a:extLst>
              </p:cNvPr>
              <p:cNvSpPr/>
              <p:nvPr/>
            </p:nvSpPr>
            <p:spPr>
              <a:xfrm>
                <a:off x="3368291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3" name="Rectangle 392">
                <a:extLst>
                  <a:ext uri="{FF2B5EF4-FFF2-40B4-BE49-F238E27FC236}">
                    <a16:creationId xmlns:a16="http://schemas.microsoft.com/office/drawing/2014/main" id="{BCC17DCC-9754-4816-92B3-394667032CCC}"/>
                  </a:ext>
                </a:extLst>
              </p:cNvPr>
              <p:cNvSpPr/>
              <p:nvPr/>
            </p:nvSpPr>
            <p:spPr>
              <a:xfrm>
                <a:off x="4315825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4" name="Rectangle 393">
                <a:extLst>
                  <a:ext uri="{FF2B5EF4-FFF2-40B4-BE49-F238E27FC236}">
                    <a16:creationId xmlns:a16="http://schemas.microsoft.com/office/drawing/2014/main" id="{D045F482-E486-40BB-85AA-BC1630007687}"/>
                  </a:ext>
                </a:extLst>
              </p:cNvPr>
              <p:cNvSpPr/>
              <p:nvPr/>
            </p:nvSpPr>
            <p:spPr>
              <a:xfrm>
                <a:off x="5263360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5" name="Rectangle 394">
                <a:extLst>
                  <a:ext uri="{FF2B5EF4-FFF2-40B4-BE49-F238E27FC236}">
                    <a16:creationId xmlns:a16="http://schemas.microsoft.com/office/drawing/2014/main" id="{C3D47B6C-50AB-4DF6-82D4-3F908585B00B}"/>
                  </a:ext>
                </a:extLst>
              </p:cNvPr>
              <p:cNvSpPr/>
              <p:nvPr/>
            </p:nvSpPr>
            <p:spPr>
              <a:xfrm>
                <a:off x="6210894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6" name="Rectangle 395">
                <a:extLst>
                  <a:ext uri="{FF2B5EF4-FFF2-40B4-BE49-F238E27FC236}">
                    <a16:creationId xmlns:a16="http://schemas.microsoft.com/office/drawing/2014/main" id="{3AFBA864-8FFF-42CD-A936-205BA937C58D}"/>
                  </a:ext>
                </a:extLst>
              </p:cNvPr>
              <p:cNvSpPr/>
              <p:nvPr/>
            </p:nvSpPr>
            <p:spPr>
              <a:xfrm>
                <a:off x="7158428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7" name="Rectangle 396">
                <a:extLst>
                  <a:ext uri="{FF2B5EF4-FFF2-40B4-BE49-F238E27FC236}">
                    <a16:creationId xmlns:a16="http://schemas.microsoft.com/office/drawing/2014/main" id="{0AB6FC89-52E3-4FFB-851C-85FD7C051FC5}"/>
                  </a:ext>
                </a:extLst>
              </p:cNvPr>
              <p:cNvSpPr/>
              <p:nvPr/>
            </p:nvSpPr>
            <p:spPr>
              <a:xfrm>
                <a:off x="8105963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8" name="Rectangle 397">
                <a:extLst>
                  <a:ext uri="{FF2B5EF4-FFF2-40B4-BE49-F238E27FC236}">
                    <a16:creationId xmlns:a16="http://schemas.microsoft.com/office/drawing/2014/main" id="{4B81C939-A67F-4DB1-9EE3-E7C9CABCE2AF}"/>
                  </a:ext>
                </a:extLst>
              </p:cNvPr>
              <p:cNvSpPr/>
              <p:nvPr/>
            </p:nvSpPr>
            <p:spPr>
              <a:xfrm>
                <a:off x="9053497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99" name="Rectangle 398">
                <a:extLst>
                  <a:ext uri="{FF2B5EF4-FFF2-40B4-BE49-F238E27FC236}">
                    <a16:creationId xmlns:a16="http://schemas.microsoft.com/office/drawing/2014/main" id="{C30533AE-D93F-4433-8561-D884886B8CD9}"/>
                  </a:ext>
                </a:extLst>
              </p:cNvPr>
              <p:cNvSpPr/>
              <p:nvPr/>
            </p:nvSpPr>
            <p:spPr>
              <a:xfrm>
                <a:off x="10001031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400" name="Rectangle 399">
                <a:extLst>
                  <a:ext uri="{FF2B5EF4-FFF2-40B4-BE49-F238E27FC236}">
                    <a16:creationId xmlns:a16="http://schemas.microsoft.com/office/drawing/2014/main" id="{A86F057C-C303-4E97-9FC5-784D6C988AB7}"/>
                  </a:ext>
                </a:extLst>
              </p:cNvPr>
              <p:cNvSpPr/>
              <p:nvPr/>
            </p:nvSpPr>
            <p:spPr>
              <a:xfrm>
                <a:off x="10948569" y="965357"/>
                <a:ext cx="731520" cy="5631831"/>
              </a:xfrm>
              <a:prstGeom prst="rect">
                <a:avLst/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BE1F475C-39D6-41D2-8394-979F1F674C74}"/>
                </a:ext>
              </a:extLst>
            </p:cNvPr>
            <p:cNvSpPr/>
            <p:nvPr/>
          </p:nvSpPr>
          <p:spPr>
            <a:xfrm>
              <a:off x="-72174" y="-204544"/>
              <a:ext cx="16405748" cy="9585835"/>
            </a:xfrm>
            <a:custGeom>
              <a:avLst/>
              <a:gdLst>
                <a:gd name="connsiteX0" fmla="*/ 873749 w 16262974"/>
                <a:gd name="connsiteY0" fmla="*/ 8282620 h 9144001"/>
                <a:gd name="connsiteX1" fmla="*/ 873749 w 16262974"/>
                <a:gd name="connsiteY1" fmla="*/ 8629453 h 9144001"/>
                <a:gd name="connsiteX2" fmla="*/ 15403174 w 16262974"/>
                <a:gd name="connsiteY2" fmla="*/ 8629453 h 9144001"/>
                <a:gd name="connsiteX3" fmla="*/ 15403174 w 16262974"/>
                <a:gd name="connsiteY3" fmla="*/ 8282620 h 9144001"/>
                <a:gd name="connsiteX4" fmla="*/ 873749 w 16262974"/>
                <a:gd name="connsiteY4" fmla="*/ 7977467 h 9144001"/>
                <a:gd name="connsiteX5" fmla="*/ 873749 w 16262974"/>
                <a:gd name="connsiteY5" fmla="*/ 8175468 h 9144001"/>
                <a:gd name="connsiteX6" fmla="*/ 15403174 w 16262974"/>
                <a:gd name="connsiteY6" fmla="*/ 8175468 h 9144001"/>
                <a:gd name="connsiteX7" fmla="*/ 15403174 w 16262974"/>
                <a:gd name="connsiteY7" fmla="*/ 7977467 h 9144001"/>
                <a:gd name="connsiteX8" fmla="*/ 873749 w 16262974"/>
                <a:gd name="connsiteY8" fmla="*/ 2029442 h 9144001"/>
                <a:gd name="connsiteX9" fmla="*/ 873749 w 16262974"/>
                <a:gd name="connsiteY9" fmla="*/ 7812272 h 9144001"/>
                <a:gd name="connsiteX10" fmla="*/ 15403174 w 16262974"/>
                <a:gd name="connsiteY10" fmla="*/ 7812272 h 9144001"/>
                <a:gd name="connsiteX11" fmla="*/ 15403174 w 16262974"/>
                <a:gd name="connsiteY11" fmla="*/ 2029442 h 9144001"/>
                <a:gd name="connsiteX12" fmla="*/ 873749 w 16262974"/>
                <a:gd name="connsiteY12" fmla="*/ 873529 h 9144001"/>
                <a:gd name="connsiteX13" fmla="*/ 873749 w 16262974"/>
                <a:gd name="connsiteY13" fmla="*/ 1303127 h 9144001"/>
                <a:gd name="connsiteX14" fmla="*/ 15403174 w 16262974"/>
                <a:gd name="connsiteY14" fmla="*/ 1303127 h 9144001"/>
                <a:gd name="connsiteX15" fmla="*/ 15403174 w 16262974"/>
                <a:gd name="connsiteY15" fmla="*/ 873529 h 9144001"/>
                <a:gd name="connsiteX16" fmla="*/ 0 w 16262974"/>
                <a:gd name="connsiteY16" fmla="*/ 0 h 9144001"/>
                <a:gd name="connsiteX17" fmla="*/ 4154 w 16262974"/>
                <a:gd name="connsiteY17" fmla="*/ 0 h 9144001"/>
                <a:gd name="connsiteX18" fmla="*/ 873749 w 16262974"/>
                <a:gd name="connsiteY18" fmla="*/ 0 h 9144001"/>
                <a:gd name="connsiteX19" fmla="*/ 16262974 w 16262974"/>
                <a:gd name="connsiteY19" fmla="*/ 0 h 9144001"/>
                <a:gd name="connsiteX20" fmla="*/ 16262974 w 16262974"/>
                <a:gd name="connsiteY20" fmla="*/ 873529 h 9144001"/>
                <a:gd name="connsiteX21" fmla="*/ 16262887 w 16262974"/>
                <a:gd name="connsiteY21" fmla="*/ 873529 h 9144001"/>
                <a:gd name="connsiteX22" fmla="*/ 16262887 w 16262974"/>
                <a:gd name="connsiteY22" fmla="*/ 1303127 h 9144001"/>
                <a:gd name="connsiteX23" fmla="*/ 16262887 w 16262974"/>
                <a:gd name="connsiteY23" fmla="*/ 2029442 h 9144001"/>
                <a:gd name="connsiteX24" fmla="*/ 16262887 w 16262974"/>
                <a:gd name="connsiteY24" fmla="*/ 9142976 h 9144001"/>
                <a:gd name="connsiteX25" fmla="*/ 16260855 w 16262974"/>
                <a:gd name="connsiteY25" fmla="*/ 9142976 h 9144001"/>
                <a:gd name="connsiteX26" fmla="*/ 16260855 w 16262974"/>
                <a:gd name="connsiteY26" fmla="*/ 9144001 h 9144001"/>
                <a:gd name="connsiteX27" fmla="*/ 2036 w 16262974"/>
                <a:gd name="connsiteY27" fmla="*/ 9144001 h 9144001"/>
                <a:gd name="connsiteX28" fmla="*/ 2036 w 16262974"/>
                <a:gd name="connsiteY28" fmla="*/ 9142976 h 9144001"/>
                <a:gd name="connsiteX29" fmla="*/ 0 w 16262974"/>
                <a:gd name="connsiteY29" fmla="*/ 9142976 h 9144001"/>
                <a:gd name="connsiteX30" fmla="*/ 0 w 16262974"/>
                <a:gd name="connsiteY30" fmla="*/ 2029442 h 9144001"/>
                <a:gd name="connsiteX31" fmla="*/ 0 w 16262974"/>
                <a:gd name="connsiteY31" fmla="*/ 1303127 h 914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6262974" h="9144001">
                  <a:moveTo>
                    <a:pt x="873749" y="8282620"/>
                  </a:moveTo>
                  <a:lnTo>
                    <a:pt x="873749" y="8629453"/>
                  </a:lnTo>
                  <a:lnTo>
                    <a:pt x="15403174" y="8629453"/>
                  </a:lnTo>
                  <a:lnTo>
                    <a:pt x="15403174" y="8282620"/>
                  </a:lnTo>
                  <a:close/>
                  <a:moveTo>
                    <a:pt x="873749" y="7977467"/>
                  </a:moveTo>
                  <a:lnTo>
                    <a:pt x="873749" y="8175468"/>
                  </a:lnTo>
                  <a:lnTo>
                    <a:pt x="15403174" y="8175468"/>
                  </a:lnTo>
                  <a:lnTo>
                    <a:pt x="15403174" y="7977467"/>
                  </a:lnTo>
                  <a:close/>
                  <a:moveTo>
                    <a:pt x="873749" y="2029442"/>
                  </a:moveTo>
                  <a:lnTo>
                    <a:pt x="873749" y="7812272"/>
                  </a:lnTo>
                  <a:lnTo>
                    <a:pt x="15403174" y="7812272"/>
                  </a:lnTo>
                  <a:lnTo>
                    <a:pt x="15403174" y="2029442"/>
                  </a:lnTo>
                  <a:close/>
                  <a:moveTo>
                    <a:pt x="873749" y="873529"/>
                  </a:moveTo>
                  <a:lnTo>
                    <a:pt x="873749" y="1303127"/>
                  </a:lnTo>
                  <a:lnTo>
                    <a:pt x="15403174" y="1303127"/>
                  </a:lnTo>
                  <a:lnTo>
                    <a:pt x="15403174" y="873529"/>
                  </a:lnTo>
                  <a:close/>
                  <a:moveTo>
                    <a:pt x="0" y="0"/>
                  </a:moveTo>
                  <a:lnTo>
                    <a:pt x="4154" y="0"/>
                  </a:lnTo>
                  <a:lnTo>
                    <a:pt x="873749" y="0"/>
                  </a:lnTo>
                  <a:lnTo>
                    <a:pt x="16262974" y="0"/>
                  </a:lnTo>
                  <a:lnTo>
                    <a:pt x="16262974" y="873529"/>
                  </a:lnTo>
                  <a:lnTo>
                    <a:pt x="16262887" y="873529"/>
                  </a:lnTo>
                  <a:lnTo>
                    <a:pt x="16262887" y="1303127"/>
                  </a:lnTo>
                  <a:lnTo>
                    <a:pt x="16262887" y="2029442"/>
                  </a:lnTo>
                  <a:lnTo>
                    <a:pt x="16262887" y="9142976"/>
                  </a:lnTo>
                  <a:lnTo>
                    <a:pt x="16260855" y="9142976"/>
                  </a:lnTo>
                  <a:lnTo>
                    <a:pt x="16260855" y="9144001"/>
                  </a:lnTo>
                  <a:lnTo>
                    <a:pt x="2036" y="9144001"/>
                  </a:lnTo>
                  <a:lnTo>
                    <a:pt x="2036" y="9142976"/>
                  </a:lnTo>
                  <a:lnTo>
                    <a:pt x="0" y="9142976"/>
                  </a:lnTo>
                  <a:lnTo>
                    <a:pt x="0" y="2029442"/>
                  </a:lnTo>
                  <a:lnTo>
                    <a:pt x="0" y="1303127"/>
                  </a:ln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/>
            </a:p>
          </p:txBody>
        </p: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FEA1E562-C5D0-4A51-BBA7-18FBA5EDD0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2199323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00B2B38F-890F-4163-8187-A7B733720E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2565046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DA07E41F-1906-4367-9DF7-80695246E3B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2930769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A15329FE-F984-487C-9DD1-4437558AFB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3296492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874D95F7-0ED5-43F1-977F-CD2965366D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3662215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8B36F74A-71D9-43A9-83A1-96251A2B66E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4027938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454EE8CE-1555-4332-B731-22E6817F7C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4393661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D553563E-CC65-4935-BF1A-F66423DA1E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4759384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8DD97AD5-8B38-4F46-98BA-DAD1426DE0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5125107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05366224-C365-4589-A5AA-BE9FC038C0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5490830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468F73AF-FA4C-47BF-8F12-9BF3E8F7ED7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5856553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E3EAFD19-9642-4D10-BF1D-1B015E2ABF7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6222276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>
              <a:extLst>
                <a:ext uri="{FF2B5EF4-FFF2-40B4-BE49-F238E27FC236}">
                  <a16:creationId xmlns:a16="http://schemas.microsoft.com/office/drawing/2014/main" id="{3BA232E8-9057-47FB-B30C-5072A11273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6587999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>
              <a:extLst>
                <a:ext uri="{FF2B5EF4-FFF2-40B4-BE49-F238E27FC236}">
                  <a16:creationId xmlns:a16="http://schemas.microsoft.com/office/drawing/2014/main" id="{5EA84214-E43C-4F53-9557-CA9471D476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6953722"/>
              <a:ext cx="14538470" cy="0"/>
            </a:xfrm>
            <a:prstGeom prst="line">
              <a:avLst/>
            </a:prstGeom>
            <a:ln w="6350">
              <a:solidFill>
                <a:srgbClr val="C00000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>
              <a:extLst>
                <a:ext uri="{FF2B5EF4-FFF2-40B4-BE49-F238E27FC236}">
                  <a16:creationId xmlns:a16="http://schemas.microsoft.com/office/drawing/2014/main" id="{522C9B5D-1F37-402A-B9DB-CF41787CB6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739" y="7316370"/>
              <a:ext cx="14538470" cy="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7DFFB087-955D-450D-AC13-0D338C9361C9}"/>
                </a:ext>
              </a:extLst>
            </p:cNvPr>
            <p:cNvSpPr/>
            <p:nvPr/>
          </p:nvSpPr>
          <p:spPr>
            <a:xfrm>
              <a:off x="7503138" y="1901926"/>
              <a:ext cx="1256803" cy="6049427"/>
            </a:xfrm>
            <a:prstGeom prst="rect">
              <a:avLst/>
            </a:prstGeom>
            <a:solidFill>
              <a:schemeClr val="bg1">
                <a:alpha val="21000"/>
              </a:schemeClr>
            </a:solidFill>
            <a:ln w="127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51" name="Title 1">
            <a:extLst>
              <a:ext uri="{FF2B5EF4-FFF2-40B4-BE49-F238E27FC236}">
                <a16:creationId xmlns:a16="http://schemas.microsoft.com/office/drawing/2014/main" id="{96243A50-302E-498E-8987-74059F6AF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3816" y="292608"/>
            <a:ext cx="14630400" cy="12029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id</a:t>
            </a:r>
          </a:p>
        </p:txBody>
      </p:sp>
    </p:spTree>
    <p:extLst>
      <p:ext uri="{BB962C8B-B14F-4D97-AF65-F5344CB8AC3E}">
        <p14:creationId xmlns:p14="http://schemas.microsoft.com/office/powerpoint/2010/main" val="36609281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2EC14D5-E8AB-4C0B-8933-1DF12FE9D3E1}"/>
              </a:ext>
            </a:extLst>
          </p:cNvPr>
          <p:cNvSpPr txBox="1"/>
          <p:nvPr userDrawn="1"/>
        </p:nvSpPr>
        <p:spPr>
          <a:xfrm>
            <a:off x="1031133" y="1878955"/>
            <a:ext cx="1185801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0">
                <a:solidFill>
                  <a:schemeClr val="tx1"/>
                </a:solidFill>
              </a:rPr>
              <a:t>END OF TEMPLATE</a:t>
            </a:r>
          </a:p>
          <a:p>
            <a:pPr algn="l"/>
            <a:endParaRPr lang="en-US" sz="4000" b="0">
              <a:solidFill>
                <a:schemeClr val="tx1"/>
              </a:solidFill>
            </a:endParaRPr>
          </a:p>
          <a:p>
            <a:pPr algn="l"/>
            <a:r>
              <a:rPr lang="en-US" sz="8800" b="1">
                <a:solidFill>
                  <a:schemeClr val="tx1"/>
                </a:solidFill>
              </a:rPr>
              <a:t>Do not use any master slide that exists after this one</a:t>
            </a:r>
          </a:p>
        </p:txBody>
      </p:sp>
    </p:spTree>
    <p:extLst>
      <p:ext uri="{BB962C8B-B14F-4D97-AF65-F5344CB8AC3E}">
        <p14:creationId xmlns:p14="http://schemas.microsoft.com/office/powerpoint/2010/main" val="2245401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chemeClr val="accent1">
                  <a:alpha val="95000"/>
                </a:schemeClr>
              </a:gs>
              <a:gs pos="0">
                <a:srgbClr val="005386"/>
              </a:gs>
              <a:gs pos="100000">
                <a:schemeClr val="accent1">
                  <a:alpha val="7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2F0C4806-6914-C482-EBEA-25C93B545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C7A43D-5896-5324-BF69-046513C5A5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EDA78D0-0492-EA41-5513-6498C0C6B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54C781-98A0-6E39-2352-9D909E8845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22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Blu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 userDrawn="1"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rgbClr val="0099DD">
                  <a:lumMod val="75000"/>
                  <a:alpha val="95000"/>
                </a:srgbClr>
              </a:gs>
              <a:gs pos="0">
                <a:srgbClr val="005386"/>
              </a:gs>
              <a:gs pos="100000">
                <a:srgbClr val="0099DD">
                  <a:alpha val="75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51505317-2F30-4C70-8040-FD04BFC21E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7BA160A7-3F12-3078-1F60-ED9BD5ADA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1581EDE-9426-871B-6C83-96632CCA9E2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76A440-9B13-5C53-46FE-4EE4FA8A92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1214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0FFE570E-0476-CA36-DA88-20F3A5514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6997" y="606746"/>
            <a:ext cx="5129003" cy="8537254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6639286-B044-EF03-2965-8B44A448A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3D76DA-9557-1732-8E5E-79E7B0A95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Icon&#10;&#10;Description automatically generated with low confidence">
            <a:extLst>
              <a:ext uri="{FF2B5EF4-FFF2-40B4-BE49-F238E27FC236}">
                <a16:creationId xmlns:a16="http://schemas.microsoft.com/office/drawing/2014/main" id="{2D97F86E-DCD0-AB72-2838-64D338FF4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9B6A1-BD26-DA02-20D7-ABA42C45D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166A2-0E3C-7661-CA4A-7DC9CE9FC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26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4969509-E458-442E-8AC9-5A2FE8146C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969625" y="0"/>
            <a:ext cx="5286375" cy="9144000"/>
          </a:xfrm>
          <a:prstGeom prst="rect">
            <a:avLst/>
          </a:prstGeom>
        </p:spPr>
      </p:pic>
      <p:pic>
        <p:nvPicPr>
          <p:cNvPr id="12" name="Picture 11" descr="Icon&#10;&#10;Description automatically generated with low confidence">
            <a:extLst>
              <a:ext uri="{FF2B5EF4-FFF2-40B4-BE49-F238E27FC236}">
                <a16:creationId xmlns:a16="http://schemas.microsoft.com/office/drawing/2014/main" id="{C74EED94-9ED7-354B-98EC-0C267E524D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7AB17-C08D-45E5-A60F-FB1FE75B20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9837E4-F5BA-08D6-C6BC-470F3C663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9450A-F93E-7FE5-4E45-2D8BBCD35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878DCB-1F84-690A-2C75-9EF64CD8D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744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B25010C-079F-490A-8CA5-039834DECF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664825" y="0"/>
            <a:ext cx="5591175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0D8537C-065E-44A2-B27E-EF4513F73DF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17D53BF6-78B2-40ED-B5B9-1621A6568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ABD46E-9849-7863-0882-BA052E9DB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38C4A-7ADE-0EFE-B8D6-AEFE61573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D60108-D996-12D1-BC5C-8C57174E6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689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F7D64A2-62D5-4D71-A21A-3917D0F7AC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131550" y="0"/>
            <a:ext cx="5124450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E0B04BA-023D-43F9-A5EF-1F82243CF8A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522B3D49-09D7-4BD9-A42B-C21EE5D9C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54C9BD-D079-BAFC-059A-D29442DB7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3EADA7-623F-9A3F-D22A-61F4C4444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B82C2-46AB-8FF8-9D82-BE85BE793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655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Wav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98B2C-CE3B-4C0A-AC4F-936741F1C0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5191126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E47ED1C-4C82-75DE-F45E-4ED7991BB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46D905-6D57-E9DC-6CC9-1033E3F295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2CB6C94B-23CA-9161-6AD4-19FB3766B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94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355166-3785-41E3-B7FD-660E6D291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131049" y="0"/>
            <a:ext cx="9124951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58CE7E5-6D8B-425E-A449-0F2B3772755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2DA250AB-BC3C-4114-BA23-48ADAEDE0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6BD173-0BC9-4AA9-FFE0-E6CA53CC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754875-38E0-F37A-41B2-E53EE663B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1406D-6A7B-3C92-AD03-F1F41F154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570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EE6C0DE-2D58-470D-85BE-7AF4F32C6E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398124" y="0"/>
            <a:ext cx="585787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D01766-A8A5-4935-9FEC-3C4C5CD5082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3A2C17B7-4590-43A7-967E-33977774E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0D95F-328D-A799-4C0A-45B094C1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5E10EC-1BF9-5099-F913-C76AC6447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81C1E3-557B-2428-7607-9D358D425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473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E36E575-BE8D-4BFC-9504-A64B4FFE1F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064874" y="0"/>
            <a:ext cx="519112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003860-7807-48D6-A38E-B22E4D8C0E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C2F077E7-EFC3-4CC1-ACB0-00F2D00BB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3509A8-F3D7-55A6-059D-FCAD731BF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FEC356-4E5D-6C07-536B-A1662BF8B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669C8A-B343-2793-71B4-7BC5FB08C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48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black background&#10;&#10;Description automatically generated">
            <a:extLst>
              <a:ext uri="{FF2B5EF4-FFF2-40B4-BE49-F238E27FC236}">
                <a16:creationId xmlns:a16="http://schemas.microsoft.com/office/drawing/2014/main" id="{5CBE16A4-D33B-1D27-61BB-AE2EB5B4E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257010" cy="9144000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A4548C5-FE26-62ED-EC09-DC569EF597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00E3F22-5FF1-7F76-8020-9514FA1EB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5" name="Picture 4" descr="Icon&#10;&#10;Description automatically generated with low confidence">
            <a:extLst>
              <a:ext uri="{FF2B5EF4-FFF2-40B4-BE49-F238E27FC236}">
                <a16:creationId xmlns:a16="http://schemas.microsoft.com/office/drawing/2014/main" id="{2424A25A-ADDD-0409-139B-8666B8CAE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71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1D128B8-3743-46BD-9D13-061AC41A12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1463"/>
            <a:ext cx="7792537" cy="779253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7C8018C-D5A5-7640-66F3-AA3B03124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7A18D1-1BC3-A218-865B-0C44D3288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9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238D0231-1645-23DB-30BE-6AD6F67DD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998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3B4DA1-DCA9-47AA-89DF-ED2CA7242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89568"/>
            <a:ext cx="7125694" cy="775443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84914BF-F9ED-FC64-C7F0-DE3D6200E2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555603-D2A0-CA5C-6E1F-B1E6C475C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8E7AE9F-EAC5-BFCB-57FB-E92C2CE66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175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FE1437-B267-4A36-9A25-FB17C9EB7D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47414"/>
            <a:ext cx="13727441" cy="509658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CF4019E-5C10-F8BD-C665-EDAB788AA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5F0D644-534D-F9AC-AA23-0E7BF27AE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C6D4DD4-8880-6B13-027D-67A21D310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925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1C6FB-F69F-499E-A307-42AED980E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24951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20EBD7-A933-F291-406A-E6AEE554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03D07D-2D73-BA55-BB1B-D2BEA64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2E740E4-D19F-6096-D0FA-C2900366EA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102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2F4A2D-8595-41FB-9946-4C590E9601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084725"/>
            <a:ext cx="7401958" cy="8059275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F31667C-FC86-1500-81BD-67AB73431E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23DC364-8E83-3299-810A-241189448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7230999F-97E0-98CB-AE72-BD1228D99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538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Wav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98B2C-CE3B-4C0A-AC4F-936741F1C0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5191126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E47ED1C-4C82-75DE-F45E-4ED7991BB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46D905-6D57-E9DC-6CC9-1033E3F295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2CB6C94B-23CA-9161-6AD4-19FB3766B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860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E5FC2-0BB2-A79A-845C-3C66886CC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EE5C3F-9D9C-503F-C702-73DED79C6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BFEE62-6182-AA5F-FF4C-26927A7B8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CF9D21-3734-D151-9A95-35AF0CBC6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800" y="1405378"/>
            <a:ext cx="146304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8773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581B6-F40B-4F4D-93CC-A52E16114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36F6A3-1265-D6C0-F4B4-7A48426E0B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266540-655C-8ACE-DA8D-60CC96805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3388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E5FC2-0BB2-A79A-845C-3C66886CC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EE5C3F-9D9C-503F-C702-73DED79C6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BFEE62-6182-AA5F-FF4C-26927A7B8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CF9D21-3734-D151-9A95-35AF0CBC6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800" y="1405378"/>
            <a:ext cx="146304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677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47F0ED1-F33A-519A-CFA5-117298FB6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91962B1-2D35-2316-9B9D-F58F0ACE2FB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7870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2-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485162"/>
            <a:ext cx="14629384" cy="10972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9C65DB7-331A-C28F-45FA-F7FC682410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344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30B3CD-51A5-09E9-40EC-31C2B599BE2F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937760" y="1408176"/>
            <a:ext cx="105156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1358343-06D3-4CEF-BA37-78E95B0831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1" y="0"/>
            <a:ext cx="4458879" cy="9144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F1673-6A51-166C-E45F-DD119CAD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0" y="485162"/>
            <a:ext cx="105156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792B6-5F0D-1075-E41F-C719C6AD40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E889D-C54E-FB9A-99F6-C69433B48A6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24C9E5-9074-7FDA-9461-361A44F56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47093" y="6969782"/>
            <a:ext cx="12608907" cy="731520"/>
          </a:xfrm>
          <a:prstGeom prst="rect">
            <a:avLst/>
          </a:prstGeom>
          <a:solidFill>
            <a:schemeClr val="bg2"/>
          </a:solidFill>
        </p:spPr>
        <p:txBody>
          <a:bodyPr lIns="182880" tIns="182880" rIns="822960" bIns="18288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3080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ar with image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094EE1-1B87-2BD8-E9C9-C009C38623CF}"/>
              </a:ext>
            </a:extLst>
          </p:cNvPr>
          <p:cNvSpPr/>
          <p:nvPr userDrawn="1"/>
        </p:nvSpPr>
        <p:spPr>
          <a:xfrm>
            <a:off x="12425853" y="0"/>
            <a:ext cx="3830146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8321AB24-A9CB-254B-2130-32CA9F6EF2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603644" y="2180376"/>
            <a:ext cx="3829396" cy="472131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83F72C-158F-5B83-0AB7-100E93A21F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D1D0AC-986B-3CA3-8A6D-3ACCE69D1E9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CFB85BE2-4AD7-C196-6809-D37A75AFC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02870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F40E0A2-91DA-C665-0438-7E39A0CC55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02870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1068DBF-DBB9-AD78-53A0-5F66949A4F5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0287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79CDF04-F2DD-8D08-7D5B-768818989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324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818048-92E5-C8E1-0F60-341FE60D6C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accent2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2F878-2DE6-67CC-3878-FB23BFE88C2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A17BE2-E9EB-75CC-78E5-9DDF7E8CABF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3A10219-97B3-F9D5-A38A-14697E3C8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5CD269AD-7260-BC38-2DC5-1D07F295E98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1661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F0CD715-1069-A3F6-DE49-3983FB7693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927D3624-34A6-6C48-90E6-F64005FD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A545AF-CC48-D536-A8A2-3F1260BA9C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65D225-08A7-B5B9-EDF6-9180DF818C2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36A1BBF-B15E-A6B8-DA81-050190525D9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36976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44547A-D5E1-53E5-E913-B811412E0E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784FC2D4-03CE-8471-C02A-96528CB7D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45EEFEB-2A16-56F3-A92C-B8F27B625BE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647A6B-476B-FCB4-51F3-82178B46BC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1641587-B8B6-96F1-11D4-A1CE8DBAF01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9117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E87E0-43AC-B97E-43D6-F6F56E50A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71E627-5AFA-A263-F548-9609003373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F12FAC1-A455-53EF-EE4C-70F84A836D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07E9C76-C0D6-74E5-431E-8CD6558CC6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5E85DA2-35E1-8E67-3448-CED645F886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1012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47F0ED1-F33A-519A-CFA5-117298FB6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91962B1-2D35-2316-9B9D-F58F0ACE2FB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5966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77535-9A9B-BDA7-BEF2-54FD9AD90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26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DC513C-47FE-8AAF-F942-5BBC9B1CFE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86C863-803F-BD55-BFDF-9D0ACA46BF4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2B484B4-850F-16B0-7547-6DD87C5883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2C8CEEB1-EB2F-FD09-8165-4885BE155BF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480EBF0E-FABC-4AC8-CCF2-68703552EBE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594344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0839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702A9-6793-46AE-4284-44A18130C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4A5517-3099-9FD0-711B-72AC6850FE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10777987-2F78-4790-50B4-BCFBA878D11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D1791D-DCBF-CB1E-EBEB-06A9926BD88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18B199E-CB98-2250-6A25-05019B80B8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85D8E5E-C9FE-63F4-C474-B8CC805A807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5803D87-F80C-B515-AA0B-EC45CA25FF2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037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CDB3-E1EF-A9E2-BCA3-326A3095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29CE1B5-E7A3-421D-BC2F-318F6C288E7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54F5CB4-2BFD-AA57-DD18-85941B799C4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6FC0C5B-6370-DA8D-D5F8-DF932B093F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3B355B5-17C5-6B60-ABF7-C45790817E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0E607B9-A16E-BCB6-401D-6EF656F7FE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94344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C85C2685-EBD0-D45B-428B-E4C462BBD31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307351-4A45-38DF-5DBE-6E63DD9AA2D6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9635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B01A05-1ED3-F12D-2B1B-063C7F7FD1DF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9B9EBE-7B5D-7F06-FABB-463E189BB49E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96E253-85E3-2BDF-CE09-507F42B5489E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FC62CE2-A0E1-11AC-30F2-7BF58829B00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9F1E7C9-93F0-8B0F-5DF4-5383209BE2B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A8988F4-75A4-8D99-331E-425769822196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CBF50841-FF47-8A36-8AEE-E6114BF7C44B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0C416A4-8E4D-F3C5-83EB-D1B88354CFD6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B729C20-4842-EF33-1635-9AD4E5C9175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AF0F3C0-82D3-7950-4F98-45573A204F0F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FE06EA3-B80E-0A63-F067-0EB505D57A06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D634036D-B3D9-5477-7538-B128205ED370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FE42C-6C10-1B64-17A0-2E47773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D780D2-73BA-6958-F7A9-ED9773E82A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BEA8C4-3D4F-81ED-2C35-23EECCF13E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34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5F796-CB0B-8B9D-EB10-D57D587A9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F903E4-D27A-C3C9-62C3-7F29B35CCD92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F273FD-BAC2-5353-9F84-1494139D1056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989FAD-208E-EB9C-D131-C4CC05D0E0F6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99139999-074C-B9F3-5F68-103D48BCA2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570FCB5F-F633-595F-87AB-9FDDC4A02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92668658-E20B-936F-874F-E767B049A4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88A45113-07EA-E406-542D-3783511B3E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A9B06D11-6B5E-309B-0174-1F10FC47C1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7026B75-78EB-C6FE-6697-BBD259C887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65A5ADF6-EC02-6648-98DE-DDED596C00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987D3E4-4410-CE53-B7BB-53FBF8AB33F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DC5A708D-78F4-8964-E22A-F9221E5A156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E260193-D306-F68F-40E6-97B85C025BF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E4278F1B-95F5-6691-37FE-290A556351E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311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4E255-1C3B-32F6-1C40-F210FB9BB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47C70D-5DDD-BA69-A809-08F613F55896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7D17D8-6576-6323-3CA3-58805E91A8B8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37439A-944E-952B-BD74-F3C6382C07F5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3DCC934-1E0A-2B7A-0DE8-848301B6F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B3357A-5511-DFDC-4748-36D3CC2C3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C2A1F41-BDBB-62A4-AB98-512B7D0C26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483121A-3E01-793D-7F27-6231619440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F840A14-54A8-C738-141F-5461851165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7D86D80-D648-9205-AD46-5F3FFCC304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D4DCF979-F46F-995F-21E6-E40801761A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B5460305-8C13-92CB-A182-8C8B0BC068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1363CA8-B36B-3496-1388-26946F2C4A1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8914001C-3224-5D0F-B4CD-7B6D522E2F4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83F5837-D768-1E36-B1A2-67E1BB4EC83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998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5620D-3F6E-0789-9193-C7A711FE6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03673-164B-9D20-F9A1-9267575181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83FD1-A0B7-BF19-C057-C5E0A0764A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ECCD0898-32FA-99B7-9780-49A430E340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21A38E-E62B-2C4F-9FB9-9AACFB62BB1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7F7086A8-C43D-EAA9-5FEA-363FEE20544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6383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549-9671-07BC-676D-DE96C2BF5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BCEDE0F-B83F-D393-29D3-BA6BB58305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43346EB-19E4-1DFC-CEDE-A9BD67D8C5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B435DD1-0042-D542-6DEB-381E8ADD5D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0DA9E20-CE4A-48C1-728F-8E13B484892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291187F-FF61-E48C-D27C-341D8D3838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0CD1195-2C45-6ECF-4D63-6FBDD025047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920232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4214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E1252-C19B-6015-5228-4582C217E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98ADDC-76CE-1C54-DFCC-8835A231509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3D12A-9818-DDFD-14E9-4085B433B2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3EA1B54-C390-BD0F-0192-FDB22BC3F2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286BF1-1BA8-33AD-2920-B8860A79570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CED28B2A-9394-2EF3-508B-0CC934CA95F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ADEA69-7815-541A-1F87-1FB2FDA2EAB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2960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EB14B86A-20F7-2940-9080-3693B9D9B83B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1017504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4A6C80F-E935-815F-F04B-212A50218E3C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5920232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260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8EF48FC2-2CBC-9B58-ED8B-1D6684BF6CF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123CB56-A1A3-DFAD-5A48-452B29AE019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AFBEBC5-3A0F-4622-8BE9-D6F649801BD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920232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EA5825-A2C2-58B3-77D3-54942F97252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AB72ED9-4166-A4A6-8E79-F636E8A2EA3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1017504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EDE8FDE-6EAE-A409-D080-5443CF5335F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920232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382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2-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485162"/>
            <a:ext cx="14629384" cy="10972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9C65DB7-331A-C28F-45FA-F7FC682410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5095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0137BEE-B921-A945-80E6-C38B95E92354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BBE990-CD1D-304C-A878-01462CB32A74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9273FC-712D-7341-852B-1F9A92698452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F1EED4-9C02-4A24-A994-AD388A2977C2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6762ADD-EE9D-C113-9995-EA453DBB93C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AF682AC-2414-20D2-6C0F-ECBF0F324B4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CA07D5D-A5EE-DE3D-7BD1-D22EAABE3DE4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A1D3BE9-8793-AF6C-A99D-B3D1975836F3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0E24A822-C022-74F7-8D1A-498B0080094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498F6257-414D-BDE1-33E0-339F63A4FB9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C1CD9-0105-9360-7E59-E7204F89CF5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96A2212C-AAB5-39E4-D601-365B6CC415F9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BF726770-5E07-15C4-C4FF-BC236FAD3817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411FD9B-D94B-446D-0622-4BAAF2357B15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97746703-B04C-0848-89A9-652B73476F33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E3FFE8A6-C4DF-0C82-EB62-9327BC421F11}"/>
              </a:ext>
            </a:extLst>
          </p:cNvPr>
          <p:cNvSpPr>
            <a:spLocks noGrp="1"/>
          </p:cNvSpPr>
          <p:nvPr userDrawn="1"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4113AD-9669-17F0-C34F-8D62628DC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AC43F-5DD5-FD2A-E7DF-FD7BC03C443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798448-F78A-D63B-5BDA-C7BB32169B73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753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A68E03-81B8-0E6C-7539-0A9AB3D88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E9869-A020-008D-4F3D-E4C4BFC1B6A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C742B3-2EFD-76DF-DB57-81F29FF01C6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483C14-A6FB-BF43-5A5E-81DDFFF4F186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CFFC08-FC40-D66E-5EE2-FBE261CB5601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3B68A4-8979-45EA-42E7-0DCBBB4C047B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1D1C59-4A09-D4F7-1E2A-7CB2CE9F26A9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407944D3-E148-84E9-38F5-818D9AF158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48DC9EA-36A6-4A65-0AA3-6850706118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1EC4304-3A45-6650-99C6-8C86DEA34E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3148FC32-9A1C-6DA3-1A04-E204D1B328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FC6CFCA-B78E-E8E0-69CC-086BD1BB06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FFAC6A-DE24-7B5F-4995-63F0FC8B40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742166-73BB-C5B1-3843-B4A0087031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F717CFB-B736-F8DE-46AA-895306A447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08963A0-AEC4-DA23-E00B-9DE937EAB3BA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A8B8A0-0CDE-747B-A791-3BD932C33F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BBD819B-CBAC-0CC5-2A80-0D0FE6D12F4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35293BAF-1C3E-BA42-6905-32255B502ED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2001954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2A67F-5690-659E-96AB-AEEE0D5E8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34880-69D8-859A-56DE-8A8F645538B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5C051-DA6B-2FEB-520F-FB39AE13EC7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D655B8-324A-742A-2A74-52FB58257069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35CFE61-6636-E50C-8016-48164E07D899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692E5C8-A059-64BD-785D-99D08A57F103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934E8-6D42-D939-09BF-24CC92CC71A0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5CD7F86-41CA-FFE0-31A4-DB9D1A7910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11E3854A-8664-0FD3-F36A-552E0EC4BB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E6811A1F-E531-8C6A-17A8-9482720F27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D024735-0F18-497D-AA34-61AC92EF9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A95950-6DB8-B87C-8D14-46A0AE3854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0379882-DFA5-CDAE-F6D4-866BD6BCF7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D65C74A-1B88-9B53-0893-0A9723118A7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D0B6EFA-7F39-406E-2AB9-747580A2E4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D6F6077-C976-223F-8C23-D1173CBE9B4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A0D78605-7388-029A-6EEC-205E2AD6B9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8CECD778-C1B5-7356-2768-CCC58C8C9C6B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E94FB416-5A77-4913-6681-6505CE7D637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3034581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9BB031-585C-C483-0FF2-3019B14A359E}"/>
              </a:ext>
            </a:extLst>
          </p:cNvPr>
          <p:cNvSpPr/>
          <p:nvPr userDrawn="1"/>
        </p:nvSpPr>
        <p:spPr>
          <a:xfrm>
            <a:off x="0" y="3886200"/>
            <a:ext cx="16255999" cy="5257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0FDBFB5-FD34-4A0C-4A73-E661FF68C81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36429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/>
              <a:t>Click to add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21" name="Content Placeholder 19">
            <a:extLst>
              <a:ext uri="{FF2B5EF4-FFF2-40B4-BE49-F238E27FC236}">
                <a16:creationId xmlns:a16="http://schemas.microsoft.com/office/drawing/2014/main" id="{67FB3129-B0D4-1CC4-6197-51DF5986E07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11540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7973B787-E959-4BDC-6E15-304DBD33C72D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85856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3" name="Content Placeholder 19">
            <a:extLst>
              <a:ext uri="{FF2B5EF4-FFF2-40B4-BE49-F238E27FC236}">
                <a16:creationId xmlns:a16="http://schemas.microsoft.com/office/drawing/2014/main" id="{7D2BA121-795A-1795-9A92-DCF99FAD42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60967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4" name="Content Placeholder 19">
            <a:extLst>
              <a:ext uri="{FF2B5EF4-FFF2-40B4-BE49-F238E27FC236}">
                <a16:creationId xmlns:a16="http://schemas.microsoft.com/office/drawing/2014/main" id="{7E00579C-540C-A80E-E9E1-D1C0C51B4211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511143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5" name="Content Placeholder 19">
            <a:extLst>
              <a:ext uri="{FF2B5EF4-FFF2-40B4-BE49-F238E27FC236}">
                <a16:creationId xmlns:a16="http://schemas.microsoft.com/office/drawing/2014/main" id="{594E6971-4515-516C-2CE7-306FAB40733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6254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DF890EDE-7F0E-D120-BC6A-737C63F8DADB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1260570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FD8B481C-C2BE-75D8-74DD-0A64D4C0A8A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235681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0FFDD37-D2B7-5C16-F88E-CB52058E1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48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83C7082-0128-4664-9BDB-D40230454C3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5365214" cy="9144000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491C541F-5BAE-4F41-8844-B6AC302BDA7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" y="919391"/>
            <a:ext cx="2953082" cy="89442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mage icon to place a white or reversed logo in this area. Make sure that your logo fits proportionately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585E864-F49D-48A2-A90F-09E4EB6071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960" y="3050598"/>
            <a:ext cx="5013546" cy="3402126"/>
          </a:xfrm>
          <a:prstGeom prst="rect">
            <a:avLst/>
          </a:prstGeom>
          <a:gradFill flip="none" rotWithShape="1">
            <a:gsLst>
              <a:gs pos="45000">
                <a:schemeClr val="accent2">
                  <a:alpha val="93000"/>
                </a:schemeClr>
              </a:gs>
              <a:gs pos="100000">
                <a:schemeClr val="accent1"/>
              </a:gs>
              <a:gs pos="0">
                <a:schemeClr val="accent2">
                  <a:alpha val="85000"/>
                </a:schemeClr>
              </a:gs>
            </a:gsLst>
            <a:lin ang="13500000" scaled="1"/>
            <a:tileRect/>
          </a:gradFill>
        </p:spPr>
        <p:txBody>
          <a:bodyPr lIns="274320" tIns="274320" rIns="274320" bIns="45720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33" name="Content Placeholder 16">
            <a:extLst>
              <a:ext uri="{FF2B5EF4-FFF2-40B4-BE49-F238E27FC236}">
                <a16:creationId xmlns:a16="http://schemas.microsoft.com/office/drawing/2014/main" id="{83755F43-A351-45FF-854E-376996DB972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" y="7391055"/>
            <a:ext cx="2073707" cy="61535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1400" b="1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Read full case study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AA3335D-FCA4-471C-9D6C-DC4C34E82A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8784" y="5633358"/>
            <a:ext cx="3777536" cy="603876"/>
          </a:xfrm>
          <a:prstGeom prst="rect">
            <a:avLst/>
          </a:prstGeom>
        </p:spPr>
        <p:txBody>
          <a:bodyPr>
            <a:noAutofit/>
          </a:bodyPr>
          <a:lstStyle>
            <a:lvl1pPr marL="12700" indent="0"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1600" b="1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6pPr>
            <a:lvl7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7pPr>
            <a:lvl8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8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uote source name, title, company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0181245-24A2-4E6A-A250-6F1DC11967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77A47A3-4B40-4292-BEBC-448B3AD67455}"/>
              </a:ext>
            </a:extLst>
          </p:cNvPr>
          <p:cNvSpPr txBox="1"/>
          <p:nvPr userDrawn="1"/>
        </p:nvSpPr>
        <p:spPr>
          <a:xfrm>
            <a:off x="6286757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6350" indent="0" algn="l">
              <a:buFontTx/>
              <a:buNone/>
              <a:tabLst/>
            </a:pPr>
            <a:r>
              <a:rPr lang="en-US" sz="1600" b="1">
                <a:solidFill>
                  <a:schemeClr val="accent2"/>
                </a:solidFill>
              </a:rPr>
              <a:t>CHALLENG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9F75AC-3771-46AC-A142-355E85B4751A}"/>
              </a:ext>
            </a:extLst>
          </p:cNvPr>
          <p:cNvSpPr txBox="1"/>
          <p:nvPr userDrawn="1"/>
        </p:nvSpPr>
        <p:spPr>
          <a:xfrm>
            <a:off x="9530474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SOLU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20B41C-BCEA-4791-A67F-7823C8D8B463}"/>
              </a:ext>
            </a:extLst>
          </p:cNvPr>
          <p:cNvSpPr txBox="1"/>
          <p:nvPr userDrawn="1"/>
        </p:nvSpPr>
        <p:spPr>
          <a:xfrm>
            <a:off x="12689840" y="1828723"/>
            <a:ext cx="2382081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RESULTS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F09A91BF-EF16-4749-BF18-094CE864278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86757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1BAE81F6-559B-4DEE-A9A8-B422C6D1DF2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530474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6D359901-06E6-4E1E-BC97-09B70A13D61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689840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9B93EC-5EC6-4EA8-8D04-E31777308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86757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76F20-62A1-4AC0-883C-3E2425022ADD}"/>
              </a:ext>
            </a:extLst>
          </p:cNvPr>
          <p:cNvCxnSpPr>
            <a:cxnSpLocks/>
          </p:cNvCxnSpPr>
          <p:nvPr userDrawn="1"/>
        </p:nvCxnSpPr>
        <p:spPr>
          <a:xfrm flipH="1">
            <a:off x="9530474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FF515DE-D450-49BD-B79E-A6D7E6AC677E}"/>
              </a:ext>
            </a:extLst>
          </p:cNvPr>
          <p:cNvCxnSpPr>
            <a:cxnSpLocks/>
          </p:cNvCxnSpPr>
          <p:nvPr userDrawn="1"/>
        </p:nvCxnSpPr>
        <p:spPr>
          <a:xfrm flipH="1">
            <a:off x="12689840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D182193-76C5-A40A-34A5-9C32FFBCC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046" y="485162"/>
            <a:ext cx="9153297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616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CC63DBCA-D69E-809E-5571-6A0D8C0C1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978" y="0"/>
            <a:ext cx="9180022" cy="9144000"/>
          </a:xfrm>
          <a:prstGeom prst="rect">
            <a:avLst/>
          </a:prstGeom>
        </p:spPr>
      </p:pic>
      <p:pic>
        <p:nvPicPr>
          <p:cNvPr id="3" name="Picture 2" descr="Anord Mardix - ByteBridge">
            <a:extLst>
              <a:ext uri="{FF2B5EF4-FFF2-40B4-BE49-F238E27FC236}">
                <a16:creationId xmlns:a16="http://schemas.microsoft.com/office/drawing/2014/main" id="{A1EF6CF6-37F8-5D32-045E-0065C90FB9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5186" y="1566530"/>
            <a:ext cx="2014688" cy="66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746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BEEBCD5-F3B9-4D63-920F-C9F1558FD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98E6F1-FB6B-4E26-B810-E7FC6B5401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64725" y="0"/>
            <a:ext cx="6391275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767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58946E-7637-4304-A317-3DB2F2F70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0949" y="0"/>
            <a:ext cx="61150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96A9F6-84EA-4F05-9E24-F3CA3B2D3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47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CC1325F-6F39-42D1-A39F-0172F3ED6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559" y="4085519"/>
            <a:ext cx="14089441" cy="50584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CB5A1E-0F64-4CCE-A986-7B6D21B2EB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97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72E4D3-BC29-4B89-984E-F26E11E450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31049" y="0"/>
            <a:ext cx="91249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88964C-91B1-436C-8775-060C3843C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0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Blu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 userDrawn="1"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rgbClr val="0099DD">
                  <a:lumMod val="75000"/>
                  <a:alpha val="95000"/>
                </a:srgbClr>
              </a:gs>
              <a:gs pos="0">
                <a:srgbClr val="005386"/>
              </a:gs>
              <a:gs pos="100000">
                <a:srgbClr val="0099DD">
                  <a:alpha val="75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51505317-2F30-4C70-8040-FD04BFC21E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7BA160A7-3F12-3078-1F60-ED9BD5ADA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1581EDE-9426-871B-6C83-96632CCA9E2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76A440-9B13-5C53-46FE-4EE4FA8A92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4635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30B3CD-51A5-09E9-40EC-31C2B599BE2F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937760" y="1408176"/>
            <a:ext cx="105156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1358343-06D3-4CEF-BA37-78E95B0831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1" y="0"/>
            <a:ext cx="4458879" cy="9144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F1673-6A51-166C-E45F-DD119CAD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0" y="485162"/>
            <a:ext cx="105156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792B6-5F0D-1075-E41F-C719C6AD40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E889D-C54E-FB9A-99F6-C69433B48A6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24C9E5-9074-7FDA-9461-361A44F56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47093" y="6969782"/>
            <a:ext cx="12608907" cy="731520"/>
          </a:xfrm>
          <a:prstGeom prst="rect">
            <a:avLst/>
          </a:prstGeom>
          <a:solidFill>
            <a:schemeClr val="bg2"/>
          </a:solidFill>
        </p:spPr>
        <p:txBody>
          <a:bodyPr lIns="182880" tIns="182880" rIns="822960" bIns="18288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9915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C82DA98-5168-489B-BD27-62D0E4FCFD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3351" y="1084725"/>
            <a:ext cx="7401958" cy="80592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EF7F4-D864-4C22-919A-09743A9D20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305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C892F5-BF7B-49F6-A81C-78C435F033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4874" y="0"/>
            <a:ext cx="5191126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4D0273-C91D-4817-B0E0-8AC4B36EC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8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749ACC2-314B-BE7F-C4D2-9A317BFF7B4F}"/>
              </a:ext>
            </a:extLst>
          </p:cNvPr>
          <p:cNvSpPr/>
          <p:nvPr userDrawn="1"/>
        </p:nvSpPr>
        <p:spPr>
          <a:xfrm>
            <a:off x="822960" y="1828800"/>
            <a:ext cx="14629384" cy="6172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DF9C94DC-D1F0-464B-AE9B-9FB2FFF0426B}"/>
              </a:ext>
            </a:extLst>
          </p:cNvPr>
          <p:cNvGrpSpPr/>
          <p:nvPr/>
        </p:nvGrpSpPr>
        <p:grpSpPr>
          <a:xfrm>
            <a:off x="807252" y="1828800"/>
            <a:ext cx="14645092" cy="6172200"/>
            <a:chOff x="525688" y="965357"/>
            <a:chExt cx="11154401" cy="5631831"/>
          </a:xfrm>
        </p:grpSpPr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7FD3E0D4-26D8-477C-81E9-E05DCFFA82FA}"/>
                </a:ext>
              </a:extLst>
            </p:cNvPr>
            <p:cNvSpPr/>
            <p:nvPr/>
          </p:nvSpPr>
          <p:spPr>
            <a:xfrm>
              <a:off x="52568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0" name="Rectangle 389">
              <a:extLst>
                <a:ext uri="{FF2B5EF4-FFF2-40B4-BE49-F238E27FC236}">
                  <a16:creationId xmlns:a16="http://schemas.microsoft.com/office/drawing/2014/main" id="{8CBD9651-3189-42AA-8984-0AFB159FC0EA}"/>
                </a:ext>
              </a:extLst>
            </p:cNvPr>
            <p:cNvSpPr/>
            <p:nvPr/>
          </p:nvSpPr>
          <p:spPr>
            <a:xfrm>
              <a:off x="1473222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1" name="Rectangle 390">
              <a:extLst>
                <a:ext uri="{FF2B5EF4-FFF2-40B4-BE49-F238E27FC236}">
                  <a16:creationId xmlns:a16="http://schemas.microsoft.com/office/drawing/2014/main" id="{81988AB6-21B7-481C-B595-3F780F3E9F53}"/>
                </a:ext>
              </a:extLst>
            </p:cNvPr>
            <p:cNvSpPr/>
            <p:nvPr/>
          </p:nvSpPr>
          <p:spPr>
            <a:xfrm>
              <a:off x="242075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39DDE36E-32F7-460B-988A-D31B6132E9EA}"/>
                </a:ext>
              </a:extLst>
            </p:cNvPr>
            <p:cNvSpPr/>
            <p:nvPr/>
          </p:nvSpPr>
          <p:spPr>
            <a:xfrm>
              <a:off x="336829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BCC17DCC-9754-4816-92B3-394667032CCC}"/>
                </a:ext>
              </a:extLst>
            </p:cNvPr>
            <p:cNvSpPr/>
            <p:nvPr/>
          </p:nvSpPr>
          <p:spPr>
            <a:xfrm>
              <a:off x="4315825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D045F482-E486-40BB-85AA-BC1630007687}"/>
                </a:ext>
              </a:extLst>
            </p:cNvPr>
            <p:cNvSpPr/>
            <p:nvPr/>
          </p:nvSpPr>
          <p:spPr>
            <a:xfrm>
              <a:off x="5263360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C3D47B6C-50AB-4DF6-82D4-3F908585B00B}"/>
                </a:ext>
              </a:extLst>
            </p:cNvPr>
            <p:cNvSpPr/>
            <p:nvPr/>
          </p:nvSpPr>
          <p:spPr>
            <a:xfrm>
              <a:off x="6210894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3AFBA864-8FFF-42CD-A936-205BA937C58D}"/>
                </a:ext>
              </a:extLst>
            </p:cNvPr>
            <p:cNvSpPr/>
            <p:nvPr/>
          </p:nvSpPr>
          <p:spPr>
            <a:xfrm>
              <a:off x="715842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0AB6FC89-52E3-4FFB-851C-85FD7C051FC5}"/>
                </a:ext>
              </a:extLst>
            </p:cNvPr>
            <p:cNvSpPr/>
            <p:nvPr/>
          </p:nvSpPr>
          <p:spPr>
            <a:xfrm>
              <a:off x="8105963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4B81C939-A67F-4DB1-9EE3-E7C9CABCE2AF}"/>
                </a:ext>
              </a:extLst>
            </p:cNvPr>
            <p:cNvSpPr/>
            <p:nvPr/>
          </p:nvSpPr>
          <p:spPr>
            <a:xfrm>
              <a:off x="905349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C30533AE-D93F-4433-8561-D884886B8CD9}"/>
                </a:ext>
              </a:extLst>
            </p:cNvPr>
            <p:cNvSpPr/>
            <p:nvPr/>
          </p:nvSpPr>
          <p:spPr>
            <a:xfrm>
              <a:off x="1000103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86F057C-C303-4E97-9FC5-784D6C988AB7}"/>
                </a:ext>
              </a:extLst>
            </p:cNvPr>
            <p:cNvSpPr/>
            <p:nvPr/>
          </p:nvSpPr>
          <p:spPr>
            <a:xfrm>
              <a:off x="10948569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FEA1E562-C5D0-4A51-BBA7-18FBA5EDD06D}"/>
              </a:ext>
            </a:extLst>
          </p:cNvPr>
          <p:cNvCxnSpPr>
            <a:cxnSpLocks/>
          </p:cNvCxnSpPr>
          <p:nvPr/>
        </p:nvCxnSpPr>
        <p:spPr>
          <a:xfrm flipH="1">
            <a:off x="910278" y="223309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00B2B38F-890F-4163-8187-A7B733720E5A}"/>
              </a:ext>
            </a:extLst>
          </p:cNvPr>
          <p:cNvCxnSpPr>
            <a:cxnSpLocks/>
          </p:cNvCxnSpPr>
          <p:nvPr/>
        </p:nvCxnSpPr>
        <p:spPr>
          <a:xfrm flipH="1">
            <a:off x="910278" y="2591142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07E41F-1906-4367-9DF7-80695246E3BD}"/>
              </a:ext>
            </a:extLst>
          </p:cNvPr>
          <p:cNvCxnSpPr>
            <a:cxnSpLocks/>
          </p:cNvCxnSpPr>
          <p:nvPr/>
        </p:nvCxnSpPr>
        <p:spPr>
          <a:xfrm flipH="1">
            <a:off x="910278" y="294918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A15329FE-F984-487C-9DD1-4437558AFBCE}"/>
              </a:ext>
            </a:extLst>
          </p:cNvPr>
          <p:cNvCxnSpPr>
            <a:cxnSpLocks/>
          </p:cNvCxnSpPr>
          <p:nvPr/>
        </p:nvCxnSpPr>
        <p:spPr>
          <a:xfrm flipH="1">
            <a:off x="910278" y="330723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874D95F7-0ED5-43F1-977F-CD2965366D3B}"/>
              </a:ext>
            </a:extLst>
          </p:cNvPr>
          <p:cNvCxnSpPr>
            <a:cxnSpLocks/>
          </p:cNvCxnSpPr>
          <p:nvPr/>
        </p:nvCxnSpPr>
        <p:spPr>
          <a:xfrm flipH="1">
            <a:off x="910278" y="3665282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8B36F74A-71D9-43A9-83A1-96251A2B66E6}"/>
              </a:ext>
            </a:extLst>
          </p:cNvPr>
          <p:cNvCxnSpPr>
            <a:cxnSpLocks/>
          </p:cNvCxnSpPr>
          <p:nvPr/>
        </p:nvCxnSpPr>
        <p:spPr>
          <a:xfrm flipH="1">
            <a:off x="910278" y="402332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454EE8CE-1555-4332-B731-22E6817F7CAF}"/>
              </a:ext>
            </a:extLst>
          </p:cNvPr>
          <p:cNvCxnSpPr>
            <a:cxnSpLocks/>
          </p:cNvCxnSpPr>
          <p:nvPr/>
        </p:nvCxnSpPr>
        <p:spPr>
          <a:xfrm flipH="1">
            <a:off x="910278" y="438137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D553563E-CC65-4935-BF1A-F66423DA1E5B}"/>
              </a:ext>
            </a:extLst>
          </p:cNvPr>
          <p:cNvCxnSpPr>
            <a:cxnSpLocks/>
          </p:cNvCxnSpPr>
          <p:nvPr/>
        </p:nvCxnSpPr>
        <p:spPr>
          <a:xfrm flipH="1">
            <a:off x="910278" y="473942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8DD97AD5-8B38-4F46-98BA-DAD1426DE01D}"/>
              </a:ext>
            </a:extLst>
          </p:cNvPr>
          <p:cNvCxnSpPr>
            <a:cxnSpLocks/>
          </p:cNvCxnSpPr>
          <p:nvPr/>
        </p:nvCxnSpPr>
        <p:spPr>
          <a:xfrm flipH="1">
            <a:off x="910278" y="509746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05366224-C365-4589-A5AA-BE9FC038C066}"/>
              </a:ext>
            </a:extLst>
          </p:cNvPr>
          <p:cNvCxnSpPr>
            <a:cxnSpLocks/>
          </p:cNvCxnSpPr>
          <p:nvPr/>
        </p:nvCxnSpPr>
        <p:spPr>
          <a:xfrm flipH="1">
            <a:off x="910278" y="545551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468F73AF-FA4C-47BF-8F12-9BF3E8F7ED73}"/>
              </a:ext>
            </a:extLst>
          </p:cNvPr>
          <p:cNvCxnSpPr>
            <a:cxnSpLocks/>
          </p:cNvCxnSpPr>
          <p:nvPr/>
        </p:nvCxnSpPr>
        <p:spPr>
          <a:xfrm flipH="1">
            <a:off x="910278" y="5813561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E3EAFD19-9642-4D10-BF1D-1B015E2ABF79}"/>
              </a:ext>
            </a:extLst>
          </p:cNvPr>
          <p:cNvCxnSpPr>
            <a:cxnSpLocks/>
          </p:cNvCxnSpPr>
          <p:nvPr/>
        </p:nvCxnSpPr>
        <p:spPr>
          <a:xfrm flipH="1">
            <a:off x="910278" y="617160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3BA232E8-9057-47FB-B30C-5072A11273E5}"/>
              </a:ext>
            </a:extLst>
          </p:cNvPr>
          <p:cNvCxnSpPr>
            <a:cxnSpLocks/>
          </p:cNvCxnSpPr>
          <p:nvPr/>
        </p:nvCxnSpPr>
        <p:spPr>
          <a:xfrm flipH="1">
            <a:off x="910278" y="6529654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5EA84214-E43C-4F53-9557-CA9471D4763B}"/>
              </a:ext>
            </a:extLst>
          </p:cNvPr>
          <p:cNvCxnSpPr>
            <a:cxnSpLocks/>
          </p:cNvCxnSpPr>
          <p:nvPr/>
        </p:nvCxnSpPr>
        <p:spPr>
          <a:xfrm flipH="1">
            <a:off x="910278" y="688770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522C9B5D-1F37-402A-B9DB-CF41787CB6EB}"/>
              </a:ext>
            </a:extLst>
          </p:cNvPr>
          <p:cNvCxnSpPr>
            <a:cxnSpLocks/>
          </p:cNvCxnSpPr>
          <p:nvPr/>
        </p:nvCxnSpPr>
        <p:spPr>
          <a:xfrm flipH="1">
            <a:off x="910278" y="7242737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8" name="Rectangle 387">
            <a:extLst>
              <a:ext uri="{FF2B5EF4-FFF2-40B4-BE49-F238E27FC236}">
                <a16:creationId xmlns:a16="http://schemas.microsoft.com/office/drawing/2014/main" id="{7DFFB087-955D-450D-AC13-0D338C9361C9}"/>
              </a:ext>
            </a:extLst>
          </p:cNvPr>
          <p:cNvSpPr/>
          <p:nvPr/>
        </p:nvSpPr>
        <p:spPr>
          <a:xfrm>
            <a:off x="7560677" y="1941940"/>
            <a:ext cx="1256803" cy="5922452"/>
          </a:xfrm>
          <a:prstGeom prst="rect">
            <a:avLst/>
          </a:prstGeom>
          <a:solidFill>
            <a:schemeClr val="bg1">
              <a:alpha val="21000"/>
            </a:schemeClr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A5A416-FF1C-6A93-38E5-D2705D90745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2960" y="485162"/>
            <a:ext cx="14629384" cy="88643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Grid</a:t>
            </a:r>
          </a:p>
        </p:txBody>
      </p:sp>
    </p:spTree>
    <p:extLst>
      <p:ext uri="{BB962C8B-B14F-4D97-AF65-F5344CB8AC3E}">
        <p14:creationId xmlns:p14="http://schemas.microsoft.com/office/powerpoint/2010/main" val="161775474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2EC14D5-E8AB-4C0B-8933-1DF12FE9D3E1}"/>
              </a:ext>
            </a:extLst>
          </p:cNvPr>
          <p:cNvSpPr txBox="1"/>
          <p:nvPr userDrawn="1"/>
        </p:nvSpPr>
        <p:spPr>
          <a:xfrm>
            <a:off x="1031133" y="1878955"/>
            <a:ext cx="1185801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0">
                <a:solidFill>
                  <a:schemeClr val="tx1"/>
                </a:solidFill>
              </a:rPr>
              <a:t>END OF TEMPLATE</a:t>
            </a:r>
          </a:p>
          <a:p>
            <a:pPr algn="l"/>
            <a:endParaRPr lang="en-US" sz="4000" b="0">
              <a:solidFill>
                <a:schemeClr val="tx1"/>
              </a:solidFill>
            </a:endParaRPr>
          </a:p>
          <a:p>
            <a:pPr algn="l"/>
            <a:r>
              <a:rPr lang="en-US" sz="8800" b="1">
                <a:solidFill>
                  <a:schemeClr val="tx1"/>
                </a:solidFill>
              </a:rPr>
              <a:t>Do not use any master slide that exists after this one</a:t>
            </a:r>
          </a:p>
        </p:txBody>
      </p:sp>
    </p:spTree>
    <p:extLst>
      <p:ext uri="{BB962C8B-B14F-4D97-AF65-F5344CB8AC3E}">
        <p14:creationId xmlns:p14="http://schemas.microsoft.com/office/powerpoint/2010/main" val="2517824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BF155E8-490F-4FEA-BE80-70CA62F0D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92608"/>
            <a:ext cx="14630400" cy="12029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your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2DD797-EF54-425D-A7CF-386E637A5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EFEF01-31B1-41D1-8768-41AEA2E12F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22960" y="2061210"/>
            <a:ext cx="6858000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53C49F0-CE82-4EED-BA56-F78BC46350D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595360" y="2061210"/>
            <a:ext cx="6858000" cy="59436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4EF51C-8DE9-AD4A-917B-1726DF70F3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503680" y="8475663"/>
            <a:ext cx="5486400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endParaRPr lang="en-US" b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DE68C6-91B2-0C45-A645-87D453F546E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22960" y="8475663"/>
            <a:ext cx="677832" cy="457200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6BC4ADAC-A71C-4041-A22C-CF397AFF832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9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ar with image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094EE1-1B87-2BD8-E9C9-C009C38623CF}"/>
              </a:ext>
            </a:extLst>
          </p:cNvPr>
          <p:cNvSpPr/>
          <p:nvPr userDrawn="1"/>
        </p:nvSpPr>
        <p:spPr>
          <a:xfrm>
            <a:off x="12425853" y="0"/>
            <a:ext cx="3830146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8321AB24-A9CB-254B-2130-32CA9F6EF2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603644" y="2180376"/>
            <a:ext cx="3829396" cy="472131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83F72C-158F-5B83-0AB7-100E93A21F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D1D0AC-986B-3CA3-8A6D-3ACCE69D1E9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CFB85BE2-4AD7-C196-6809-D37A75AFC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02870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F40E0A2-91DA-C665-0438-7E39A0CC55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02870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1068DBF-DBB9-AD78-53A0-5F66949A4F5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0287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79CDF04-F2DD-8D08-7D5B-768818989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08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818048-92E5-C8E1-0F60-341FE60D6C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accent2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2F878-2DE6-67CC-3878-FB23BFE88C2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A17BE2-E9EB-75CC-78E5-9DDF7E8CABF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3A10219-97B3-F9D5-A38A-14697E3C8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5CD269AD-7260-BC38-2DC5-1D07F295E98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131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F0CD715-1069-A3F6-DE49-3983FB7693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927D3624-34A6-6C48-90E6-F64005FD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A545AF-CC48-D536-A8A2-3F1260BA9C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65D225-08A7-B5B9-EDF6-9180DF818C2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36A1BBF-B15E-A6B8-DA81-050190525D9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7796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44547A-D5E1-53E5-E913-B811412E0E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784FC2D4-03CE-8471-C02A-96528CB7D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45EEFEB-2A16-56F3-A92C-B8F27B625BE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647A6B-476B-FCB4-51F3-82178B46BC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1641587-B8B6-96F1-11D4-A1CE8DBAF01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868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E87E0-43AC-B97E-43D6-F6F56E50A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71E627-5AFA-A263-F548-9609003373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F12FAC1-A455-53EF-EE4C-70F84A836D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07E9C76-C0D6-74E5-431E-8CD6558CC6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5E85DA2-35E1-8E67-3448-CED645F886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94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77535-9A9B-BDA7-BEF2-54FD9AD90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26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DC513C-47FE-8AAF-F942-5BBC9B1CFE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86C863-803F-BD55-BFDF-9D0ACA46BF4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2B484B4-850F-16B0-7547-6DD87C5883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2C8CEEB1-EB2F-FD09-8165-4885BE155BF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480EBF0E-FABC-4AC8-CCF2-68703552EBE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594344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9560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702A9-6793-46AE-4284-44A18130C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4A5517-3099-9FD0-711B-72AC6850FE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10777987-2F78-4790-50B4-BCFBA878D11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D1791D-DCBF-CB1E-EBEB-06A9926BD88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18B199E-CB98-2250-6A25-05019B80B8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85D8E5E-C9FE-63F4-C474-B8CC805A807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5803D87-F80C-B515-AA0B-EC45CA25FF2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706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CDB3-E1EF-A9E2-BCA3-326A3095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29CE1B5-E7A3-421D-BC2F-318F6C288E7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54F5CB4-2BFD-AA57-DD18-85941B799C4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6FC0C5B-6370-DA8D-D5F8-DF932B093F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3B355B5-17C5-6B60-ABF7-C45790817E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0E607B9-A16E-BCB6-401D-6EF656F7FE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94344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C85C2685-EBD0-D45B-428B-E4C462BBD31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307351-4A45-38DF-5DBE-6E63DD9AA2D6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6311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B01A05-1ED3-F12D-2B1B-063C7F7FD1DF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9B9EBE-7B5D-7F06-FABB-463E189BB49E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96E253-85E3-2BDF-CE09-507F42B5489E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FC62CE2-A0E1-11AC-30F2-7BF58829B00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9F1E7C9-93F0-8B0F-5DF4-5383209BE2B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A8988F4-75A4-8D99-331E-425769822196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CBF50841-FF47-8A36-8AEE-E6114BF7C44B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0C416A4-8E4D-F3C5-83EB-D1B88354CFD6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B729C20-4842-EF33-1635-9AD4E5C9175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AF0F3C0-82D3-7950-4F98-45573A204F0F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FE06EA3-B80E-0A63-F067-0EB505D57A06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D634036D-B3D9-5477-7538-B128205ED370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FE42C-6C10-1B64-17A0-2E47773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D780D2-73BA-6958-F7A9-ED9773E82A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BEA8C4-3D4F-81ED-2C35-23EECCF13E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342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0FFE570E-0476-CA36-DA88-20F3A5514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6997" y="606746"/>
            <a:ext cx="5129003" cy="8537254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6639286-B044-EF03-2965-8B44A448A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3D76DA-9557-1732-8E5E-79E7B0A95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Icon&#10;&#10;Description automatically generated with low confidence">
            <a:extLst>
              <a:ext uri="{FF2B5EF4-FFF2-40B4-BE49-F238E27FC236}">
                <a16:creationId xmlns:a16="http://schemas.microsoft.com/office/drawing/2014/main" id="{2D97F86E-DCD0-AB72-2838-64D338FF4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9B6A1-BD26-DA02-20D7-ABA42C45D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166A2-0E3C-7661-CA4A-7DC9CE9FC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927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5F796-CB0B-8B9D-EB10-D57D587A9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F903E4-D27A-C3C9-62C3-7F29B35CCD92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F273FD-BAC2-5353-9F84-1494139D1056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989FAD-208E-EB9C-D131-C4CC05D0E0F6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99139999-074C-B9F3-5F68-103D48BCA2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570FCB5F-F633-595F-87AB-9FDDC4A02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92668658-E20B-936F-874F-E767B049A4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88A45113-07EA-E406-542D-3783511B3E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A9B06D11-6B5E-309B-0174-1F10FC47C1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7026B75-78EB-C6FE-6697-BBD259C887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65A5ADF6-EC02-6648-98DE-DDED596C00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987D3E4-4410-CE53-B7BB-53FBF8AB33F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DC5A708D-78F4-8964-E22A-F9221E5A156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E260193-D306-F68F-40E6-97B85C025BF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E4278F1B-95F5-6691-37FE-290A556351E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460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4E255-1C3B-32F6-1C40-F210FB9BB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47C70D-5DDD-BA69-A809-08F613F55896}"/>
              </a:ext>
            </a:extLst>
          </p:cNvPr>
          <p:cNvSpPr/>
          <p:nvPr userDrawn="1"/>
        </p:nvSpPr>
        <p:spPr bwMode="white">
          <a:xfrm>
            <a:off x="10762488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7D17D8-6576-6323-3CA3-58805E91A8B8}"/>
              </a:ext>
            </a:extLst>
          </p:cNvPr>
          <p:cNvSpPr/>
          <p:nvPr userDrawn="1"/>
        </p:nvSpPr>
        <p:spPr bwMode="white">
          <a:xfrm>
            <a:off x="5788152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37439A-944E-952B-BD74-F3C6382C07F5}"/>
              </a:ext>
            </a:extLst>
          </p:cNvPr>
          <p:cNvSpPr/>
          <p:nvPr userDrawn="1"/>
        </p:nvSpPr>
        <p:spPr bwMode="white">
          <a:xfrm>
            <a:off x="822960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3DCC934-1E0A-2B7A-0DE8-848301B6F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B3357A-5511-DFDC-4748-36D3CC2C3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C2A1F41-BDBB-62A4-AB98-512B7D0C26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483121A-3E01-793D-7F27-6231619440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F840A14-54A8-C738-141F-5461851165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7D86D80-D648-9205-AD46-5F3FFCC304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D4DCF979-F46F-995F-21E6-E40801761A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B5460305-8C13-92CB-A182-8C8B0BC068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1363CA8-B36B-3496-1388-26946F2C4A1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8914001C-3224-5D0F-B4CD-7B6D522E2F4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83F5837-D768-1E36-B1A2-67E1BB4EC83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479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5620D-3F6E-0789-9193-C7A711FE6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03673-164B-9D20-F9A1-9267575181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83FD1-A0B7-BF19-C057-C5E0A0764A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ECCD0898-32FA-99B7-9780-49A430E340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21A38E-E62B-2C4F-9FB9-9AACFB62BB1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7F7086A8-C43D-EAA9-5FEA-363FEE20544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2083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549-9671-07BC-676D-DE96C2BF5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BCEDE0F-B83F-D393-29D3-BA6BB58305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43346EB-19E4-1DFC-CEDE-A9BD67D8C5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B435DD1-0042-D542-6DEB-381E8ADD5D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0DA9E20-CE4A-48C1-728F-8E13B484892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291187F-FF61-E48C-D27C-341D8D3838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0CD1195-2C45-6ECF-4D63-6FBDD025047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920232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0179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E1252-C19B-6015-5228-4582C217E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98ADDC-76CE-1C54-DFCC-8835A231509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3D12A-9818-DDFD-14E9-4085B433B2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3EA1B54-C390-BD0F-0192-FDB22BC3F2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286BF1-1BA8-33AD-2920-B8860A79570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CED28B2A-9394-2EF3-508B-0CC934CA95F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ADEA69-7815-541A-1F87-1FB2FDA2EAB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2960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EB14B86A-20F7-2940-9080-3693B9D9B83B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1017504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4A6C80F-E935-815F-F04B-212A50218E3C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5920232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6930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8EF48FC2-2CBC-9B58-ED8B-1D6684BF6CF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123CB56-A1A3-DFAD-5A48-452B29AE019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AFBEBC5-3A0F-4622-8BE9-D6F649801BD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920232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EA5825-A2C2-58B3-77D3-54942F97252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AB72ED9-4166-A4A6-8E79-F636E8A2EA3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1017504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EDE8FDE-6EAE-A409-D080-5443CF5335F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920232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8937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0137BEE-B921-A945-80E6-C38B95E92354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BBE990-CD1D-304C-A878-01462CB32A74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9273FC-712D-7341-852B-1F9A92698452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F1EED4-9C02-4A24-A994-AD388A2977C2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6762ADD-EE9D-C113-9995-EA453DBB93C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AF682AC-2414-20D2-6C0F-ECBF0F324B4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CA07D5D-A5EE-DE3D-7BD1-D22EAABE3DE4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A1D3BE9-8793-AF6C-A99D-B3D1975836F3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0E24A822-C022-74F7-8D1A-498B0080094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498F6257-414D-BDE1-33E0-339F63A4FB9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C1CD9-0105-9360-7E59-E7204F89CF5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96A2212C-AAB5-39E4-D601-365B6CC415F9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BF726770-5E07-15C4-C4FF-BC236FAD3817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411FD9B-D94B-446D-0622-4BAAF2357B15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97746703-B04C-0848-89A9-652B73476F33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E3FFE8A6-C4DF-0C82-EB62-9327BC421F11}"/>
              </a:ext>
            </a:extLst>
          </p:cNvPr>
          <p:cNvSpPr>
            <a:spLocks noGrp="1"/>
          </p:cNvSpPr>
          <p:nvPr userDrawn="1"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4113AD-9669-17F0-C34F-8D62628DC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AC43F-5DD5-FD2A-E7DF-FD7BC03C443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798448-F78A-D63B-5BDA-C7BB32169B73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725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A68E03-81B8-0E6C-7539-0A9AB3D88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E9869-A020-008D-4F3D-E4C4BFC1B6A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C742B3-2EFD-76DF-DB57-81F29FF01C6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483C14-A6FB-BF43-5A5E-81DDFFF4F186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CFFC08-FC40-D66E-5EE2-FBE261CB5601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3B68A4-8979-45EA-42E7-0DCBBB4C047B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1D1C59-4A09-D4F7-1E2A-7CB2CE9F26A9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407944D3-E148-84E9-38F5-818D9AF158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48DC9EA-36A6-4A65-0AA3-6850706118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1EC4304-3A45-6650-99C6-8C86DEA34E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3148FC32-9A1C-6DA3-1A04-E204D1B328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FC6CFCA-B78E-E8E0-69CC-086BD1BB06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FFAC6A-DE24-7B5F-4995-63F0FC8B40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742166-73BB-C5B1-3843-B4A0087031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F717CFB-B736-F8DE-46AA-895306A447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08963A0-AEC4-DA23-E00B-9DE937EAB3BA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A8B8A0-0CDE-747B-A791-3BD932C33F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BBD819B-CBAC-0CC5-2A80-0D0FE6D12F4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35293BAF-1C3E-BA42-6905-32255B502ED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77962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2A67F-5690-659E-96AB-AEEE0D5E8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34880-69D8-859A-56DE-8A8F645538B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5C051-DA6B-2FEB-520F-FB39AE13EC7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D655B8-324A-742A-2A74-52FB58257069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35CFE61-6636-E50C-8016-48164E07D899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692E5C8-A059-64BD-785D-99D08A57F103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934E8-6D42-D939-09BF-24CC92CC71A0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5CD7F86-41CA-FFE0-31A4-DB9D1A7910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11E3854A-8664-0FD3-F36A-552E0EC4BB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E6811A1F-E531-8C6A-17A8-9482720F27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D024735-0F18-497D-AA34-61AC92EF9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A95950-6DB8-B87C-8D14-46A0AE3854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0379882-DFA5-CDAE-F6D4-866BD6BCF7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D65C74A-1B88-9B53-0893-0A9723118A7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D0B6EFA-7F39-406E-2AB9-747580A2E4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D6F6077-C976-223F-8C23-D1173CBE9B4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A0D78605-7388-029A-6EEC-205E2AD6B9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8CECD778-C1B5-7356-2768-CCC58C8C9C6B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E94FB416-5A77-4913-6681-6505CE7D637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1074238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9BB031-585C-C483-0FF2-3019B14A359E}"/>
              </a:ext>
            </a:extLst>
          </p:cNvPr>
          <p:cNvSpPr/>
          <p:nvPr userDrawn="1"/>
        </p:nvSpPr>
        <p:spPr>
          <a:xfrm>
            <a:off x="0" y="3886200"/>
            <a:ext cx="16255999" cy="5257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0FDBFB5-FD34-4A0C-4A73-E661FF68C81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36429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/>
              <a:t>Click to add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21" name="Content Placeholder 19">
            <a:extLst>
              <a:ext uri="{FF2B5EF4-FFF2-40B4-BE49-F238E27FC236}">
                <a16:creationId xmlns:a16="http://schemas.microsoft.com/office/drawing/2014/main" id="{67FB3129-B0D4-1CC4-6197-51DF5986E07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11540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7973B787-E959-4BDC-6E15-304DBD33C72D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85856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3" name="Content Placeholder 19">
            <a:extLst>
              <a:ext uri="{FF2B5EF4-FFF2-40B4-BE49-F238E27FC236}">
                <a16:creationId xmlns:a16="http://schemas.microsoft.com/office/drawing/2014/main" id="{7D2BA121-795A-1795-9A92-DCF99FAD42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60967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4" name="Content Placeholder 19">
            <a:extLst>
              <a:ext uri="{FF2B5EF4-FFF2-40B4-BE49-F238E27FC236}">
                <a16:creationId xmlns:a16="http://schemas.microsoft.com/office/drawing/2014/main" id="{7E00579C-540C-A80E-E9E1-D1C0C51B4211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511143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5" name="Content Placeholder 19">
            <a:extLst>
              <a:ext uri="{FF2B5EF4-FFF2-40B4-BE49-F238E27FC236}">
                <a16:creationId xmlns:a16="http://schemas.microsoft.com/office/drawing/2014/main" id="{594E6971-4515-516C-2CE7-306FAB40733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6254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DF890EDE-7F0E-D120-BC6A-737C63F8DADB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1260570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FD8B481C-C2BE-75D8-74DD-0A64D4C0A8A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235681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0FFDD37-D2B7-5C16-F88E-CB52058E1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6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4969509-E458-442E-8AC9-5A2FE8146C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969625" y="0"/>
            <a:ext cx="5286375" cy="9144000"/>
          </a:xfrm>
          <a:prstGeom prst="rect">
            <a:avLst/>
          </a:prstGeom>
        </p:spPr>
      </p:pic>
      <p:pic>
        <p:nvPicPr>
          <p:cNvPr id="12" name="Picture 11" descr="Icon&#10;&#10;Description automatically generated with low confidence">
            <a:extLst>
              <a:ext uri="{FF2B5EF4-FFF2-40B4-BE49-F238E27FC236}">
                <a16:creationId xmlns:a16="http://schemas.microsoft.com/office/drawing/2014/main" id="{C74EED94-9ED7-354B-98EC-0C267E524D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7AB17-C08D-45E5-A60F-FB1FE75B20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9837E4-F5BA-08D6-C6BC-470F3C663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9450A-F93E-7FE5-4E45-2D8BBCD35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878DCB-1F84-690A-2C75-9EF64CD8D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360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83C7082-0128-4664-9BDB-D40230454C3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5365214" cy="9144000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491C541F-5BAE-4F41-8844-B6AC302BDA7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" y="919391"/>
            <a:ext cx="2953082" cy="89442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mage icon to place a white or reversed logo in this area. Make sure that your logo fits proportionately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585E864-F49D-48A2-A90F-09E4EB6071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960" y="3050598"/>
            <a:ext cx="5013546" cy="3402126"/>
          </a:xfrm>
          <a:prstGeom prst="rect">
            <a:avLst/>
          </a:prstGeom>
          <a:gradFill flip="none" rotWithShape="1">
            <a:gsLst>
              <a:gs pos="45000">
                <a:schemeClr val="accent2">
                  <a:alpha val="93000"/>
                </a:schemeClr>
              </a:gs>
              <a:gs pos="100000">
                <a:schemeClr val="accent1"/>
              </a:gs>
              <a:gs pos="0">
                <a:schemeClr val="accent2">
                  <a:alpha val="85000"/>
                </a:schemeClr>
              </a:gs>
            </a:gsLst>
            <a:lin ang="13500000" scaled="1"/>
            <a:tileRect/>
          </a:gradFill>
        </p:spPr>
        <p:txBody>
          <a:bodyPr lIns="274320" tIns="274320" rIns="274320" bIns="45720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33" name="Content Placeholder 16">
            <a:extLst>
              <a:ext uri="{FF2B5EF4-FFF2-40B4-BE49-F238E27FC236}">
                <a16:creationId xmlns:a16="http://schemas.microsoft.com/office/drawing/2014/main" id="{83755F43-A351-45FF-854E-376996DB972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" y="7391055"/>
            <a:ext cx="2073707" cy="61535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1400" b="1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Read full case study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AA3335D-FCA4-471C-9D6C-DC4C34E82A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8784" y="5633358"/>
            <a:ext cx="3777536" cy="603876"/>
          </a:xfrm>
          <a:prstGeom prst="rect">
            <a:avLst/>
          </a:prstGeom>
        </p:spPr>
        <p:txBody>
          <a:bodyPr>
            <a:noAutofit/>
          </a:bodyPr>
          <a:lstStyle>
            <a:lvl1pPr marL="12700" indent="0"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1600" b="1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6pPr>
            <a:lvl7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7pPr>
            <a:lvl8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8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uote source name, title, company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0181245-24A2-4E6A-A250-6F1DC11967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77A47A3-4B40-4292-BEBC-448B3AD67455}"/>
              </a:ext>
            </a:extLst>
          </p:cNvPr>
          <p:cNvSpPr txBox="1"/>
          <p:nvPr userDrawn="1"/>
        </p:nvSpPr>
        <p:spPr>
          <a:xfrm>
            <a:off x="6286757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6350" indent="0" algn="l">
              <a:buFontTx/>
              <a:buNone/>
              <a:tabLst/>
            </a:pPr>
            <a:r>
              <a:rPr lang="en-US" sz="1600" b="1">
                <a:solidFill>
                  <a:schemeClr val="accent2"/>
                </a:solidFill>
              </a:rPr>
              <a:t>CHALLENG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9F75AC-3771-46AC-A142-355E85B4751A}"/>
              </a:ext>
            </a:extLst>
          </p:cNvPr>
          <p:cNvSpPr txBox="1"/>
          <p:nvPr userDrawn="1"/>
        </p:nvSpPr>
        <p:spPr>
          <a:xfrm>
            <a:off x="9530474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SOLU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20B41C-BCEA-4791-A67F-7823C8D8B463}"/>
              </a:ext>
            </a:extLst>
          </p:cNvPr>
          <p:cNvSpPr txBox="1"/>
          <p:nvPr userDrawn="1"/>
        </p:nvSpPr>
        <p:spPr>
          <a:xfrm>
            <a:off x="12689840" y="1828723"/>
            <a:ext cx="2382081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RESULTS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F09A91BF-EF16-4749-BF18-094CE864278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86757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1BAE81F6-559B-4DEE-A9A8-B422C6D1DF2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530474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6D359901-06E6-4E1E-BC97-09B70A13D61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689840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9B93EC-5EC6-4EA8-8D04-E31777308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86757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76F20-62A1-4AC0-883C-3E2425022ADD}"/>
              </a:ext>
            </a:extLst>
          </p:cNvPr>
          <p:cNvCxnSpPr>
            <a:cxnSpLocks/>
          </p:cNvCxnSpPr>
          <p:nvPr userDrawn="1"/>
        </p:nvCxnSpPr>
        <p:spPr>
          <a:xfrm flipH="1">
            <a:off x="9530474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FF515DE-D450-49BD-B79E-A6D7E6AC677E}"/>
              </a:ext>
            </a:extLst>
          </p:cNvPr>
          <p:cNvCxnSpPr>
            <a:cxnSpLocks/>
          </p:cNvCxnSpPr>
          <p:nvPr userDrawn="1"/>
        </p:nvCxnSpPr>
        <p:spPr>
          <a:xfrm flipH="1">
            <a:off x="12689840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D182193-76C5-A40A-34A5-9C32FFBCC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046" y="485162"/>
            <a:ext cx="9153297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1403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CC63DBCA-D69E-809E-5571-6A0D8C0C1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978" y="0"/>
            <a:ext cx="9180022" cy="9144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579B6987-D4C0-A706-ACA8-A390B03276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5261705" y="3867196"/>
            <a:ext cx="3118181" cy="1261914"/>
          </a:xfrm>
          <a:prstGeom prst="rect">
            <a:avLst/>
          </a:prstGeom>
        </p:spPr>
      </p:pic>
      <p:pic>
        <p:nvPicPr>
          <p:cNvPr id="4" name="Picture 3" descr="Anord Mardix - ByteBridge">
            <a:extLst>
              <a:ext uri="{FF2B5EF4-FFF2-40B4-BE49-F238E27FC236}">
                <a16:creationId xmlns:a16="http://schemas.microsoft.com/office/drawing/2014/main" id="{A814FA94-FEF0-0CB4-ADB4-B760AED5B2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4046" y="3941042"/>
            <a:ext cx="3823985" cy="1261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7402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BEEBCD5-F3B9-4D63-920F-C9F1558FD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98E6F1-FB6B-4E26-B810-E7FC6B5401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64725" y="0"/>
            <a:ext cx="6391275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151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58946E-7637-4304-A317-3DB2F2F70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0949" y="0"/>
            <a:ext cx="61150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96A9F6-84EA-4F05-9E24-F3CA3B2D3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45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CC1325F-6F39-42D1-A39F-0172F3ED6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559" y="4085519"/>
            <a:ext cx="14089441" cy="50584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CB5A1E-0F64-4CCE-A986-7B6D21B2EB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69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72E4D3-BC29-4B89-984E-F26E11E450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31049" y="0"/>
            <a:ext cx="91249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88964C-91B1-436C-8775-060C3843C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87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C82DA98-5168-489B-BD27-62D0E4FCFD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3351" y="1084725"/>
            <a:ext cx="7401958" cy="80592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EF7F4-D864-4C22-919A-09743A9D20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59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C892F5-BF7B-49F6-A81C-78C435F033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4874" y="0"/>
            <a:ext cx="5191126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4D0273-C91D-4817-B0E0-8AC4B36EC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84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749ACC2-314B-BE7F-C4D2-9A317BFF7B4F}"/>
              </a:ext>
            </a:extLst>
          </p:cNvPr>
          <p:cNvSpPr/>
          <p:nvPr userDrawn="1"/>
        </p:nvSpPr>
        <p:spPr>
          <a:xfrm>
            <a:off x="822960" y="1828800"/>
            <a:ext cx="14629384" cy="6172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DF9C94DC-D1F0-464B-AE9B-9FB2FFF0426B}"/>
              </a:ext>
            </a:extLst>
          </p:cNvPr>
          <p:cNvGrpSpPr/>
          <p:nvPr/>
        </p:nvGrpSpPr>
        <p:grpSpPr>
          <a:xfrm>
            <a:off x="807252" y="1828800"/>
            <a:ext cx="14645092" cy="6172200"/>
            <a:chOff x="525688" y="965357"/>
            <a:chExt cx="11154401" cy="5631831"/>
          </a:xfrm>
        </p:grpSpPr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7FD3E0D4-26D8-477C-81E9-E05DCFFA82FA}"/>
                </a:ext>
              </a:extLst>
            </p:cNvPr>
            <p:cNvSpPr/>
            <p:nvPr/>
          </p:nvSpPr>
          <p:spPr>
            <a:xfrm>
              <a:off x="52568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0" name="Rectangle 389">
              <a:extLst>
                <a:ext uri="{FF2B5EF4-FFF2-40B4-BE49-F238E27FC236}">
                  <a16:creationId xmlns:a16="http://schemas.microsoft.com/office/drawing/2014/main" id="{8CBD9651-3189-42AA-8984-0AFB159FC0EA}"/>
                </a:ext>
              </a:extLst>
            </p:cNvPr>
            <p:cNvSpPr/>
            <p:nvPr/>
          </p:nvSpPr>
          <p:spPr>
            <a:xfrm>
              <a:off x="1473222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1" name="Rectangle 390">
              <a:extLst>
                <a:ext uri="{FF2B5EF4-FFF2-40B4-BE49-F238E27FC236}">
                  <a16:creationId xmlns:a16="http://schemas.microsoft.com/office/drawing/2014/main" id="{81988AB6-21B7-481C-B595-3F780F3E9F53}"/>
                </a:ext>
              </a:extLst>
            </p:cNvPr>
            <p:cNvSpPr/>
            <p:nvPr/>
          </p:nvSpPr>
          <p:spPr>
            <a:xfrm>
              <a:off x="242075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39DDE36E-32F7-460B-988A-D31B6132E9EA}"/>
                </a:ext>
              </a:extLst>
            </p:cNvPr>
            <p:cNvSpPr/>
            <p:nvPr/>
          </p:nvSpPr>
          <p:spPr>
            <a:xfrm>
              <a:off x="336829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BCC17DCC-9754-4816-92B3-394667032CCC}"/>
                </a:ext>
              </a:extLst>
            </p:cNvPr>
            <p:cNvSpPr/>
            <p:nvPr/>
          </p:nvSpPr>
          <p:spPr>
            <a:xfrm>
              <a:off x="4315825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D045F482-E486-40BB-85AA-BC1630007687}"/>
                </a:ext>
              </a:extLst>
            </p:cNvPr>
            <p:cNvSpPr/>
            <p:nvPr/>
          </p:nvSpPr>
          <p:spPr>
            <a:xfrm>
              <a:off x="5263360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C3D47B6C-50AB-4DF6-82D4-3F908585B00B}"/>
                </a:ext>
              </a:extLst>
            </p:cNvPr>
            <p:cNvSpPr/>
            <p:nvPr/>
          </p:nvSpPr>
          <p:spPr>
            <a:xfrm>
              <a:off x="6210894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3AFBA864-8FFF-42CD-A936-205BA937C58D}"/>
                </a:ext>
              </a:extLst>
            </p:cNvPr>
            <p:cNvSpPr/>
            <p:nvPr/>
          </p:nvSpPr>
          <p:spPr>
            <a:xfrm>
              <a:off x="715842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0AB6FC89-52E3-4FFB-851C-85FD7C051FC5}"/>
                </a:ext>
              </a:extLst>
            </p:cNvPr>
            <p:cNvSpPr/>
            <p:nvPr/>
          </p:nvSpPr>
          <p:spPr>
            <a:xfrm>
              <a:off x="8105963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4B81C939-A67F-4DB1-9EE3-E7C9CABCE2AF}"/>
                </a:ext>
              </a:extLst>
            </p:cNvPr>
            <p:cNvSpPr/>
            <p:nvPr/>
          </p:nvSpPr>
          <p:spPr>
            <a:xfrm>
              <a:off x="905349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C30533AE-D93F-4433-8561-D884886B8CD9}"/>
                </a:ext>
              </a:extLst>
            </p:cNvPr>
            <p:cNvSpPr/>
            <p:nvPr/>
          </p:nvSpPr>
          <p:spPr>
            <a:xfrm>
              <a:off x="1000103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86F057C-C303-4E97-9FC5-784D6C988AB7}"/>
                </a:ext>
              </a:extLst>
            </p:cNvPr>
            <p:cNvSpPr/>
            <p:nvPr/>
          </p:nvSpPr>
          <p:spPr>
            <a:xfrm>
              <a:off x="10948569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FEA1E562-C5D0-4A51-BBA7-18FBA5EDD06D}"/>
              </a:ext>
            </a:extLst>
          </p:cNvPr>
          <p:cNvCxnSpPr>
            <a:cxnSpLocks/>
          </p:cNvCxnSpPr>
          <p:nvPr/>
        </p:nvCxnSpPr>
        <p:spPr>
          <a:xfrm flipH="1">
            <a:off x="910278" y="223309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00B2B38F-890F-4163-8187-A7B733720E5A}"/>
              </a:ext>
            </a:extLst>
          </p:cNvPr>
          <p:cNvCxnSpPr>
            <a:cxnSpLocks/>
          </p:cNvCxnSpPr>
          <p:nvPr/>
        </p:nvCxnSpPr>
        <p:spPr>
          <a:xfrm flipH="1">
            <a:off x="910278" y="2591142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07E41F-1906-4367-9DF7-80695246E3BD}"/>
              </a:ext>
            </a:extLst>
          </p:cNvPr>
          <p:cNvCxnSpPr>
            <a:cxnSpLocks/>
          </p:cNvCxnSpPr>
          <p:nvPr/>
        </p:nvCxnSpPr>
        <p:spPr>
          <a:xfrm flipH="1">
            <a:off x="910278" y="294918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A15329FE-F984-487C-9DD1-4437558AFBCE}"/>
              </a:ext>
            </a:extLst>
          </p:cNvPr>
          <p:cNvCxnSpPr>
            <a:cxnSpLocks/>
          </p:cNvCxnSpPr>
          <p:nvPr/>
        </p:nvCxnSpPr>
        <p:spPr>
          <a:xfrm flipH="1">
            <a:off x="910278" y="330723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874D95F7-0ED5-43F1-977F-CD2965366D3B}"/>
              </a:ext>
            </a:extLst>
          </p:cNvPr>
          <p:cNvCxnSpPr>
            <a:cxnSpLocks/>
          </p:cNvCxnSpPr>
          <p:nvPr/>
        </p:nvCxnSpPr>
        <p:spPr>
          <a:xfrm flipH="1">
            <a:off x="910278" y="3665282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8B36F74A-71D9-43A9-83A1-96251A2B66E6}"/>
              </a:ext>
            </a:extLst>
          </p:cNvPr>
          <p:cNvCxnSpPr>
            <a:cxnSpLocks/>
          </p:cNvCxnSpPr>
          <p:nvPr/>
        </p:nvCxnSpPr>
        <p:spPr>
          <a:xfrm flipH="1">
            <a:off x="910278" y="402332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454EE8CE-1555-4332-B731-22E6817F7CAF}"/>
              </a:ext>
            </a:extLst>
          </p:cNvPr>
          <p:cNvCxnSpPr>
            <a:cxnSpLocks/>
          </p:cNvCxnSpPr>
          <p:nvPr/>
        </p:nvCxnSpPr>
        <p:spPr>
          <a:xfrm flipH="1">
            <a:off x="910278" y="438137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D553563E-CC65-4935-BF1A-F66423DA1E5B}"/>
              </a:ext>
            </a:extLst>
          </p:cNvPr>
          <p:cNvCxnSpPr>
            <a:cxnSpLocks/>
          </p:cNvCxnSpPr>
          <p:nvPr/>
        </p:nvCxnSpPr>
        <p:spPr>
          <a:xfrm flipH="1">
            <a:off x="910278" y="473942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8DD97AD5-8B38-4F46-98BA-DAD1426DE01D}"/>
              </a:ext>
            </a:extLst>
          </p:cNvPr>
          <p:cNvCxnSpPr>
            <a:cxnSpLocks/>
          </p:cNvCxnSpPr>
          <p:nvPr/>
        </p:nvCxnSpPr>
        <p:spPr>
          <a:xfrm flipH="1">
            <a:off x="910278" y="509746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05366224-C365-4589-A5AA-BE9FC038C066}"/>
              </a:ext>
            </a:extLst>
          </p:cNvPr>
          <p:cNvCxnSpPr>
            <a:cxnSpLocks/>
          </p:cNvCxnSpPr>
          <p:nvPr/>
        </p:nvCxnSpPr>
        <p:spPr>
          <a:xfrm flipH="1">
            <a:off x="910278" y="545551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468F73AF-FA4C-47BF-8F12-9BF3E8F7ED73}"/>
              </a:ext>
            </a:extLst>
          </p:cNvPr>
          <p:cNvCxnSpPr>
            <a:cxnSpLocks/>
          </p:cNvCxnSpPr>
          <p:nvPr/>
        </p:nvCxnSpPr>
        <p:spPr>
          <a:xfrm flipH="1">
            <a:off x="910278" y="5813561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E3EAFD19-9642-4D10-BF1D-1B015E2ABF79}"/>
              </a:ext>
            </a:extLst>
          </p:cNvPr>
          <p:cNvCxnSpPr>
            <a:cxnSpLocks/>
          </p:cNvCxnSpPr>
          <p:nvPr/>
        </p:nvCxnSpPr>
        <p:spPr>
          <a:xfrm flipH="1">
            <a:off x="910278" y="617160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3BA232E8-9057-47FB-B30C-5072A11273E5}"/>
              </a:ext>
            </a:extLst>
          </p:cNvPr>
          <p:cNvCxnSpPr>
            <a:cxnSpLocks/>
          </p:cNvCxnSpPr>
          <p:nvPr/>
        </p:nvCxnSpPr>
        <p:spPr>
          <a:xfrm flipH="1">
            <a:off x="910278" y="6529654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5EA84214-E43C-4F53-9557-CA9471D4763B}"/>
              </a:ext>
            </a:extLst>
          </p:cNvPr>
          <p:cNvCxnSpPr>
            <a:cxnSpLocks/>
          </p:cNvCxnSpPr>
          <p:nvPr/>
        </p:nvCxnSpPr>
        <p:spPr>
          <a:xfrm flipH="1">
            <a:off x="910278" y="688770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522C9B5D-1F37-402A-B9DB-CF41787CB6EB}"/>
              </a:ext>
            </a:extLst>
          </p:cNvPr>
          <p:cNvCxnSpPr>
            <a:cxnSpLocks/>
          </p:cNvCxnSpPr>
          <p:nvPr/>
        </p:nvCxnSpPr>
        <p:spPr>
          <a:xfrm flipH="1">
            <a:off x="910278" y="7242737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8" name="Rectangle 387">
            <a:extLst>
              <a:ext uri="{FF2B5EF4-FFF2-40B4-BE49-F238E27FC236}">
                <a16:creationId xmlns:a16="http://schemas.microsoft.com/office/drawing/2014/main" id="{7DFFB087-955D-450D-AC13-0D338C9361C9}"/>
              </a:ext>
            </a:extLst>
          </p:cNvPr>
          <p:cNvSpPr/>
          <p:nvPr/>
        </p:nvSpPr>
        <p:spPr>
          <a:xfrm>
            <a:off x="7560677" y="1941940"/>
            <a:ext cx="1256803" cy="5922452"/>
          </a:xfrm>
          <a:prstGeom prst="rect">
            <a:avLst/>
          </a:prstGeom>
          <a:solidFill>
            <a:schemeClr val="bg1">
              <a:alpha val="21000"/>
            </a:schemeClr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A5A416-FF1C-6A93-38E5-D2705D90745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2960" y="485162"/>
            <a:ext cx="14629384" cy="88643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Grid</a:t>
            </a:r>
          </a:p>
        </p:txBody>
      </p:sp>
    </p:spTree>
    <p:extLst>
      <p:ext uri="{BB962C8B-B14F-4D97-AF65-F5344CB8AC3E}">
        <p14:creationId xmlns:p14="http://schemas.microsoft.com/office/powerpoint/2010/main" val="25886777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671D61-DAA5-B84C-25E6-6B60C749E28B}"/>
              </a:ext>
            </a:extLst>
          </p:cNvPr>
          <p:cNvSpPr/>
          <p:nvPr userDrawn="1"/>
        </p:nvSpPr>
        <p:spPr>
          <a:xfrm>
            <a:off x="0" y="0"/>
            <a:ext cx="16256000" cy="91440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F581B6-F40B-4F4D-93CC-A52E16114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36F6A3-1265-D6C0-F4B4-7A48426E0B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266540-655C-8ACE-DA8D-60CC96805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8D5DE86-F0C2-7857-1B2B-DBACE20278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36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B25010C-079F-490A-8CA5-039834DECF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664825" y="0"/>
            <a:ext cx="5591175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0D8537C-065E-44A2-B27E-EF4513F73DF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17D53BF6-78B2-40ED-B5B9-1621A6568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ABD46E-9849-7863-0882-BA052E9DB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38C4A-7ADE-0EFE-B8D6-AEFE61573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D60108-D996-12D1-BC5C-8C57174E6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600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2EC14D5-E8AB-4C0B-8933-1DF12FE9D3E1}"/>
              </a:ext>
            </a:extLst>
          </p:cNvPr>
          <p:cNvSpPr txBox="1"/>
          <p:nvPr userDrawn="1"/>
        </p:nvSpPr>
        <p:spPr>
          <a:xfrm>
            <a:off x="1031133" y="1878955"/>
            <a:ext cx="1185801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0">
                <a:solidFill>
                  <a:schemeClr val="tx1"/>
                </a:solidFill>
              </a:rPr>
              <a:t>END OF TEMPLATE</a:t>
            </a:r>
          </a:p>
          <a:p>
            <a:pPr algn="l"/>
            <a:endParaRPr lang="en-US" sz="4000" b="0">
              <a:solidFill>
                <a:schemeClr val="tx1"/>
              </a:solidFill>
            </a:endParaRPr>
          </a:p>
          <a:p>
            <a:pPr algn="l"/>
            <a:r>
              <a:rPr lang="en-US" sz="8800" b="1">
                <a:solidFill>
                  <a:schemeClr val="tx1"/>
                </a:solidFill>
              </a:rPr>
              <a:t>Do not use any master slide that exists after this one</a:t>
            </a:r>
          </a:p>
        </p:txBody>
      </p:sp>
    </p:spTree>
    <p:extLst>
      <p:ext uri="{BB962C8B-B14F-4D97-AF65-F5344CB8AC3E}">
        <p14:creationId xmlns:p14="http://schemas.microsoft.com/office/powerpoint/2010/main" val="2600801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47F0ED1-F33A-519A-CFA5-117298FB6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91962B1-2D35-2316-9B9D-F58F0ACE2FB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38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5E45B4F-54BE-949E-CB97-28B1E5D65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1" y="2745"/>
            <a:ext cx="16254459" cy="9141255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chemeClr val="accent1">
                  <a:alpha val="95000"/>
                </a:schemeClr>
              </a:gs>
              <a:gs pos="0">
                <a:srgbClr val="005386"/>
              </a:gs>
              <a:gs pos="100000">
                <a:schemeClr val="accent1">
                  <a:alpha val="7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2F0C4806-6914-C482-EBEA-25C93B545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C7A43D-5896-5324-BF69-046513C5A5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EDA78D0-0492-EA41-5513-6498C0C6BF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54C781-98A0-6E39-2352-9D909E8845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3852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Blu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606C5D28-9584-47C7-A3F7-6D88B6719B58}"/>
              </a:ext>
            </a:extLst>
          </p:cNvPr>
          <p:cNvSpPr/>
          <p:nvPr userDrawn="1"/>
        </p:nvSpPr>
        <p:spPr bwMode="white">
          <a:xfrm>
            <a:off x="0" y="1032269"/>
            <a:ext cx="6751235" cy="6647384"/>
          </a:xfrm>
          <a:prstGeom prst="rect">
            <a:avLst/>
          </a:prstGeom>
          <a:gradFill flip="none" rotWithShape="1">
            <a:gsLst>
              <a:gs pos="49600">
                <a:srgbClr val="0099DD">
                  <a:lumMod val="75000"/>
                  <a:alpha val="95000"/>
                </a:srgbClr>
              </a:gs>
              <a:gs pos="0">
                <a:srgbClr val="005386"/>
              </a:gs>
              <a:gs pos="100000">
                <a:srgbClr val="0099DD">
                  <a:alpha val="75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51505317-2F30-4C70-8040-FD04BFC21E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821994" y="1568044"/>
            <a:ext cx="1310625" cy="530404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7BA160A7-3F12-3078-1F60-ED9BD5ADA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2961" y="3498995"/>
            <a:ext cx="5119262" cy="2203379"/>
          </a:xfrm>
        </p:spPr>
        <p:txBody>
          <a:bodyPr lIns="0" tIns="0" rIns="0" bIns="0" anchor="b">
            <a:norm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1581EDE-9426-871B-6C83-96632CCA9E2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09012" y="6113854"/>
            <a:ext cx="5119263" cy="9923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insert name of author </a:t>
            </a:r>
          </a:p>
          <a:p>
            <a:r>
              <a:rPr lang="en-US"/>
              <a:t>and/or dat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76A440-9B13-5C53-46FE-4EE4FA8A92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09012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4934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0FFE570E-0476-CA36-DA88-20F3A5514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6997" y="606746"/>
            <a:ext cx="5129003" cy="8537254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6639286-B044-EF03-2965-8B44A448A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3D76DA-9557-1732-8E5E-79E7B0A95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Icon&#10;&#10;Description automatically generated with low confidence">
            <a:extLst>
              <a:ext uri="{FF2B5EF4-FFF2-40B4-BE49-F238E27FC236}">
                <a16:creationId xmlns:a16="http://schemas.microsoft.com/office/drawing/2014/main" id="{2D97F86E-DCD0-AB72-2838-64D338FF4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9B6A1-BD26-DA02-20D7-ABA42C45D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166A2-0E3C-7661-CA4A-7DC9CE9FC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262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4969509-E458-442E-8AC9-5A2FE8146C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969625" y="0"/>
            <a:ext cx="5286375" cy="9144000"/>
          </a:xfrm>
          <a:prstGeom prst="rect">
            <a:avLst/>
          </a:prstGeom>
        </p:spPr>
      </p:pic>
      <p:pic>
        <p:nvPicPr>
          <p:cNvPr id="12" name="Picture 11" descr="Icon&#10;&#10;Description automatically generated with low confidence">
            <a:extLst>
              <a:ext uri="{FF2B5EF4-FFF2-40B4-BE49-F238E27FC236}">
                <a16:creationId xmlns:a16="http://schemas.microsoft.com/office/drawing/2014/main" id="{C74EED94-9ED7-354B-98EC-0C267E524D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7AB17-C08D-45E5-A60F-FB1FE75B20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9837E4-F5BA-08D6-C6BC-470F3C663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9450A-F93E-7FE5-4E45-2D8BBCD35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878DCB-1F84-690A-2C75-9EF64CD8D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29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B25010C-079F-490A-8CA5-039834DECF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664825" y="0"/>
            <a:ext cx="5591175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0D8537C-065E-44A2-B27E-EF4513F73DF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17D53BF6-78B2-40ED-B5B9-1621A6568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ABD46E-9849-7863-0882-BA052E9DB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38C4A-7ADE-0EFE-B8D6-AEFE61573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D60108-D996-12D1-BC5C-8C57174E6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396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F7D64A2-62D5-4D71-A21A-3917D0F7AC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131550" y="0"/>
            <a:ext cx="5124450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E0B04BA-023D-43F9-A5EF-1F82243CF8A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522B3D49-09D7-4BD9-A42B-C21EE5D9C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54C9BD-D079-BAFC-059A-D29442DB7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3EADA7-623F-9A3F-D22A-61F4C4444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B82C2-46AB-8FF8-9D82-BE85BE793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09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355166-3785-41E3-B7FD-660E6D291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131049" y="0"/>
            <a:ext cx="9124951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58CE7E5-6D8B-425E-A449-0F2B3772755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2DA250AB-BC3C-4114-BA23-48ADAEDE0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6BD173-0BC9-4AA9-FFE0-E6CA53CC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754875-38E0-F37A-41B2-E53EE663B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1406D-6A7B-3C92-AD03-F1F41F154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771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EE6C0DE-2D58-470D-85BE-7AF4F32C6E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398124" y="0"/>
            <a:ext cx="585787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D01766-A8A5-4935-9FEC-3C4C5CD5082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3A2C17B7-4590-43A7-967E-33977774E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0D95F-328D-A799-4C0A-45B094C1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5E10EC-1BF9-5099-F913-C76AC6447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81C1E3-557B-2428-7607-9D358D425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47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F7D64A2-62D5-4D71-A21A-3917D0F7AC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131550" y="0"/>
            <a:ext cx="5124450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E0B04BA-023D-43F9-A5EF-1F82243CF8A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522B3D49-09D7-4BD9-A42B-C21EE5D9C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54C9BD-D079-BAFC-059A-D29442DB7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3EADA7-623F-9A3F-D22A-61F4C4444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B82C2-46AB-8FF8-9D82-BE85BE793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587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E36E575-BE8D-4BFC-9504-A64B4FFE1F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064874" y="0"/>
            <a:ext cx="519112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003860-7807-48D6-A38E-B22E4D8C0E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C2F077E7-EFC3-4CC1-ACB0-00F2D00BB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3509A8-F3D7-55A6-059D-FCAD731BF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FEC356-4E5D-6C07-536B-A1662BF8B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669C8A-B343-2793-71B4-7BC5FB08C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165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black background&#10;&#10;Description automatically generated">
            <a:extLst>
              <a:ext uri="{FF2B5EF4-FFF2-40B4-BE49-F238E27FC236}">
                <a16:creationId xmlns:a16="http://schemas.microsoft.com/office/drawing/2014/main" id="{5CBE16A4-D33B-1D27-61BB-AE2EB5B4E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257010" cy="9144000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A4548C5-FE26-62ED-EC09-DC569EF597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00E3F22-5FF1-7F76-8020-9514FA1EB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5" name="Picture 4" descr="Icon&#10;&#10;Description automatically generated with low confidence">
            <a:extLst>
              <a:ext uri="{FF2B5EF4-FFF2-40B4-BE49-F238E27FC236}">
                <a16:creationId xmlns:a16="http://schemas.microsoft.com/office/drawing/2014/main" id="{2424A25A-ADDD-0409-139B-8666B8CAE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905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1D128B8-3743-46BD-9D13-061AC41A12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1463"/>
            <a:ext cx="7792537" cy="779253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7C8018C-D5A5-7640-66F3-AA3B03124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7A18D1-1BC3-A218-865B-0C44D3288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9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238D0231-1645-23DB-30BE-6AD6F67DD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33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3B4DA1-DCA9-47AA-89DF-ED2CA7242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89568"/>
            <a:ext cx="7125694" cy="775443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84914BF-F9ED-FC64-C7F0-DE3D6200E2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555603-D2A0-CA5C-6E1F-B1E6C475C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8E7AE9F-EAC5-BFCB-57FB-E92C2CE66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963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FE1437-B267-4A36-9A25-FB17C9EB7D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47414"/>
            <a:ext cx="13727441" cy="509658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CF4019E-5C10-F8BD-C665-EDAB788AA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5F0D644-534D-F9AC-AA23-0E7BF27AE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C6D4DD4-8880-6B13-027D-67A21D310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48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1C6FB-F69F-499E-A307-42AED980E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24951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20EBD7-A933-F291-406A-E6AEE554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03D07D-2D73-BA55-BB1B-D2BEA64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2E740E4-D19F-6096-D0FA-C2900366EA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59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2F4A2D-8595-41FB-9946-4C590E9601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084725"/>
            <a:ext cx="7401958" cy="8059275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F31667C-FC86-1500-81BD-67AB73431E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23DC364-8E83-3299-810A-241189448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7230999F-97E0-98CB-AE72-BD1228D99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66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Wav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98B2C-CE3B-4C0A-AC4F-936741F1C0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5191126" cy="9144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E47ED1C-4C82-75DE-F45E-4ED7991BB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5487" y="5038421"/>
            <a:ext cx="7125679" cy="22390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812652" indent="0">
              <a:buNone/>
              <a:defRPr sz="1800">
                <a:solidFill>
                  <a:schemeClr val="bg1"/>
                </a:solidFill>
              </a:defRPr>
            </a:lvl2pPr>
            <a:lvl3pPr marL="1625301" indent="0">
              <a:buNone/>
              <a:defRPr sz="1800">
                <a:solidFill>
                  <a:schemeClr val="bg1"/>
                </a:solidFill>
              </a:defRPr>
            </a:lvl3pPr>
            <a:lvl4pPr marL="2437951" indent="0">
              <a:buNone/>
              <a:defRPr sz="1800">
                <a:solidFill>
                  <a:schemeClr val="bg1"/>
                </a:solidFill>
              </a:defRPr>
            </a:lvl4pPr>
            <a:lvl5pPr marL="3250601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escrip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46D905-6D57-E9DC-6CC9-1033E3F295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25452" y="2592371"/>
            <a:ext cx="7125551" cy="2171730"/>
          </a:xfrm>
        </p:spPr>
        <p:txBody>
          <a:bodyPr lIns="0" tIns="0" rIns="0" bIns="0"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your title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2CB6C94B-23CA-9161-6AD4-19FB3766B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400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E5FC2-0BB2-A79A-845C-3C66886CC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EE5C3F-9D9C-503F-C702-73DED79C6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BFEE62-6182-AA5F-FF4C-26927A7B8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CF9D21-3734-D151-9A95-35AF0CBC6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800" y="1405378"/>
            <a:ext cx="146304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8596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2-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884CAE-BFB2-CD38-0A63-31326E636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C615AA-36BB-15F2-D599-DF2B49CE1E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E5708E-B388-CB4B-EDED-BC3F1BE73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485162"/>
            <a:ext cx="14629384" cy="10972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9C65DB7-331A-C28F-45FA-F7FC682410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46304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104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355166-3785-41E3-B7FD-660E6D291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131049" y="0"/>
            <a:ext cx="9124951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58CE7E5-6D8B-425E-A449-0F2B3772755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2DA250AB-BC3C-4114-BA23-48ADAEDE0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6BD173-0BC9-4AA9-FFE0-E6CA53CC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754875-38E0-F37A-41B2-E53EE663B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1406D-6A7B-3C92-AD03-F1F41F154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932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30B3CD-51A5-09E9-40EC-31C2B599BE2F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937760" y="1408176"/>
            <a:ext cx="105156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1358343-06D3-4CEF-BA37-78E95B0831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1" y="0"/>
            <a:ext cx="4458879" cy="9144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F1673-6A51-166C-E45F-DD119CAD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0" y="485162"/>
            <a:ext cx="10515600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792B6-5F0D-1075-E41F-C719C6AD40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E889D-C54E-FB9A-99F6-C69433B48A6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24C9E5-9074-7FDA-9461-361A44F56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47093" y="6969782"/>
            <a:ext cx="12608907" cy="731520"/>
          </a:xfrm>
          <a:prstGeom prst="rect">
            <a:avLst/>
          </a:prstGeom>
          <a:solidFill>
            <a:schemeClr val="bg2"/>
          </a:solidFill>
        </p:spPr>
        <p:txBody>
          <a:bodyPr lIns="182880" tIns="182880" rIns="822960" bIns="18288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3624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ar with image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094EE1-1B87-2BD8-E9C9-C009C38623CF}"/>
              </a:ext>
            </a:extLst>
          </p:cNvPr>
          <p:cNvSpPr/>
          <p:nvPr userDrawn="1"/>
        </p:nvSpPr>
        <p:spPr>
          <a:xfrm>
            <a:off x="12425853" y="0"/>
            <a:ext cx="3830146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8321AB24-A9CB-254B-2130-32CA9F6EF2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603644" y="2180376"/>
            <a:ext cx="3829396" cy="472131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83F72C-158F-5B83-0AB7-100E93A21F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D1D0AC-986B-3CA3-8A6D-3ACCE69D1E9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CFB85BE2-4AD7-C196-6809-D37A75AFC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02870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F40E0A2-91DA-C665-0438-7E39A0CC55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0287000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1068DBF-DBB9-AD78-53A0-5F66949A4F5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828800"/>
            <a:ext cx="10287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79CDF04-F2DD-8D08-7D5B-768818989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75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818048-92E5-C8E1-0F60-341FE60D6C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accent2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2F878-2DE6-67CC-3878-FB23BFE88C2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A17BE2-E9EB-75CC-78E5-9DDF7E8CABF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3A10219-97B3-F9D5-A38A-14697E3C8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5CD269AD-7260-BC38-2DC5-1D07F295E98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63657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F0CD715-1069-A3F6-DE49-3983FB7693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927D3624-34A6-6C48-90E6-F64005FD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A545AF-CC48-D536-A8A2-3F1260BA9C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65D225-08A7-B5B9-EDF6-9180DF818C2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36A1BBF-B15E-A6B8-DA81-050190525D9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775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3B6DBF-FBE9-8A4A-BC45-1565F00F0BED}"/>
              </a:ext>
            </a:extLst>
          </p:cNvPr>
          <p:cNvSpPr/>
          <p:nvPr/>
        </p:nvSpPr>
        <p:spPr bwMode="ltGray">
          <a:xfrm>
            <a:off x="0" y="0"/>
            <a:ext cx="6289950" cy="91440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44547A-D5E1-53E5-E913-B811412E0E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1" y="3162408"/>
            <a:ext cx="4982358" cy="483859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784FC2D4-03CE-8471-C02A-96528CB7D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485162"/>
            <a:ext cx="4982358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45EEFEB-2A16-56F3-A92C-B8F27B625BE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647A6B-476B-FCB4-51F3-82178B46BC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1641587-B8B6-96F1-11D4-A1CE8DBAF011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846825" y="1028700"/>
            <a:ext cx="8595360" cy="69723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7459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E87E0-43AC-B97E-43D6-F6F56E50A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71E627-5AFA-A263-F548-9609003373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F12FAC1-A455-53EF-EE4C-70F84A836D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07E9C76-C0D6-74E5-431E-8CD6558CC6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5E85DA2-35E1-8E67-3448-CED645F886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8051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77535-9A9B-BDA7-BEF2-54FD9AD90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26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DC513C-47FE-8AAF-F942-5BBC9B1CFE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86C863-803F-BD55-BFDF-9D0ACA46BF4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2B484B4-850F-16B0-7547-6DD87C5883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2C8CEEB1-EB2F-FD09-8165-4885BE155BF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480EBF0E-FABC-4AC8-CCF2-68703552EBE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594344" y="1828800"/>
            <a:ext cx="685800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1296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702A9-6793-46AE-4284-44A18130C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F4A5517-3099-9FD0-711B-72AC6850FE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10777987-2F78-4790-50B4-BCFBA878D11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D1791D-DCBF-CB1E-EBEB-06A9926BD88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18B199E-CB98-2250-6A25-05019B80B8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94344" y="1408176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85D8E5E-C9FE-63F4-C474-B8CC805A807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5803D87-F80C-B515-AA0B-EC45CA25FF2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4983480"/>
            <a:ext cx="6858000" cy="301752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25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images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CDB3-E1EF-A9E2-BCA3-326A3095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29CE1B5-E7A3-421D-BC2F-318F6C288E7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54F5CB4-2BFD-AA57-DD18-85941B799C4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6FC0C5B-6370-DA8D-D5F8-DF932B093F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3B355B5-17C5-6B60-ABF7-C45790817E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0E607B9-A16E-BCB6-401D-6EF656F7FE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594344" y="1828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C85C2685-EBD0-D45B-428B-E4C462BBD31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307351-4A45-38DF-5DBE-6E63DD9AA2D6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594344" y="5257800"/>
            <a:ext cx="685800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0304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B01A05-1ED3-F12D-2B1B-063C7F7FD1DF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9B9EBE-7B5D-7F06-FABB-463E189BB49E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96E253-85E3-2BDF-CE09-507F42B5489E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FC62CE2-A0E1-11AC-30F2-7BF58829B00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9F1E7C9-93F0-8B0F-5DF4-5383209BE2B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A8988F4-75A4-8D99-331E-425769822196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CBF50841-FF47-8A36-8AEE-E6114BF7C44B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0C416A4-8E4D-F3C5-83EB-D1B88354CFD6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B729C20-4842-EF33-1635-9AD4E5C9175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AF0F3C0-82D3-7950-4F98-45573A204F0F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1FE06EA3-B80E-0A63-F067-0EB505D57A06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D634036D-B3D9-5477-7538-B128205ED370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FE42C-6C10-1B64-17A0-2E47773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D780D2-73BA-6958-F7A9-ED9773E82A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BEA8C4-3D4F-81ED-2C35-23EECCF13E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489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EE6C0DE-2D58-470D-85BE-7AF4F32C6E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398124" y="0"/>
            <a:ext cx="585787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D01766-A8A5-4935-9FEC-3C4C5CD5082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3A2C17B7-4590-43A7-967E-33977774E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0D95F-328D-A799-4C0A-45B094C1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5E10EC-1BF9-5099-F913-C76AC6447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81C1E3-557B-2428-7607-9D358D425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363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5F796-CB0B-8B9D-EB10-D57D587A9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F903E4-D27A-C3C9-62C3-7F29B35CCD92}"/>
              </a:ext>
            </a:extLst>
          </p:cNvPr>
          <p:cNvSpPr/>
          <p:nvPr userDrawn="1"/>
        </p:nvSpPr>
        <p:spPr bwMode="white">
          <a:xfrm>
            <a:off x="10811172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F273FD-BAC2-5353-9F84-1494139D1056}"/>
              </a:ext>
            </a:extLst>
          </p:cNvPr>
          <p:cNvSpPr/>
          <p:nvPr userDrawn="1"/>
        </p:nvSpPr>
        <p:spPr bwMode="white">
          <a:xfrm>
            <a:off x="5811986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989FAD-208E-EB9C-D131-C4CC05D0E0F6}"/>
              </a:ext>
            </a:extLst>
          </p:cNvPr>
          <p:cNvSpPr/>
          <p:nvPr userDrawn="1"/>
        </p:nvSpPr>
        <p:spPr bwMode="white">
          <a:xfrm>
            <a:off x="812800" y="1828799"/>
            <a:ext cx="4641172" cy="58270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99139999-074C-B9F3-5F68-103D48BCA2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570FCB5F-F633-595F-87AB-9FDDC4A02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92668658-E20B-936F-874F-E767B049A4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88A45113-07EA-E406-542D-3783511B3E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A9B06D11-6B5E-309B-0174-1F10FC47C1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7026B75-78EB-C6FE-6697-BBD259C887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65A5ADF6-EC02-6648-98DE-DDED596C00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987D3E4-4410-CE53-B7BB-53FBF8AB33F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DC5A708D-78F4-8964-E22A-F9221E5A156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E260193-D306-F68F-40E6-97B85C025BF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E4278F1B-95F5-6691-37FE-290A556351E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604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4E255-1C3B-32F6-1C40-F210FB9BB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47C70D-5DDD-BA69-A809-08F613F55896}"/>
              </a:ext>
            </a:extLst>
          </p:cNvPr>
          <p:cNvSpPr/>
          <p:nvPr userDrawn="1"/>
        </p:nvSpPr>
        <p:spPr bwMode="white">
          <a:xfrm>
            <a:off x="10762488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7D17D8-6576-6323-3CA3-58805E91A8B8}"/>
              </a:ext>
            </a:extLst>
          </p:cNvPr>
          <p:cNvSpPr/>
          <p:nvPr userDrawn="1"/>
        </p:nvSpPr>
        <p:spPr bwMode="white">
          <a:xfrm>
            <a:off x="5788152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37439A-944E-952B-BD74-F3C6382C07F5}"/>
              </a:ext>
            </a:extLst>
          </p:cNvPr>
          <p:cNvSpPr/>
          <p:nvPr userDrawn="1"/>
        </p:nvSpPr>
        <p:spPr bwMode="white">
          <a:xfrm>
            <a:off x="822960" y="2048256"/>
            <a:ext cx="4641172" cy="5943600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3DCC934-1E0A-2B7A-0DE8-848301B6F8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5083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B3357A-5511-DFDC-4748-36D3CC2C3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083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C2A1F41-BDBB-62A4-AB98-512B7D0C26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6076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483121A-3E01-793D-7F27-6231619440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6076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F840A14-54A8-C738-141F-5461851165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153455" y="3712048"/>
            <a:ext cx="3976926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B7D86D80-D648-9205-AD46-5F3FFCC304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153455" y="4892511"/>
            <a:ext cx="3976926" cy="24329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D4DCF979-F46F-995F-21E6-E40801761A4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572046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B5460305-8C13-92CB-A182-8C8B0BC068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73039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1363CA8-B36B-3496-1388-26946F2C4A1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570418" y="2198924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8914001C-3224-5D0F-B4CD-7B6D522E2F4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83F5837-D768-1E36-B1A2-67E1BB4EC83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763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5620D-3F6E-0789-9193-C7A711FE6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03673-164B-9D20-F9A1-9267575181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83FD1-A0B7-BF19-C057-C5E0A0764A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ECCD0898-32FA-99B7-9780-49A430E340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21A38E-E62B-2C4F-9FB9-9AACFB62BB1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7F7086A8-C43D-EAA9-5FEA-363FEE20544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658368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381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549-9671-07BC-676D-DE96C2BF5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BCEDE0F-B83F-D393-29D3-BA6BB58305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43346EB-19E4-1DFC-CEDE-A9BD67D8C5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B435DD1-0042-D542-6DEB-381E8ADD5D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0DA9E20-CE4A-48C1-728F-8E13B484892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291187F-FF61-E48C-D27C-341D8D3838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0CD1195-2C45-6ECF-4D63-6FBDD025047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920232" y="1828800"/>
            <a:ext cx="4434840" cy="6172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9005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E1252-C19B-6015-5228-4582C217E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98ADDC-76CE-1C54-DFCC-8835A231509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3D12A-9818-DDFD-14E9-4085B433B2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3EA1B54-C390-BD0F-0192-FDB22BC3F2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286BF1-1BA8-33AD-2920-B8860A79570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017504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CED28B2A-9394-2EF3-508B-0CC934CA95F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20232" y="1408176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ADEA69-7815-541A-1F87-1FB2FDA2EAB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2960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EB14B86A-20F7-2940-9080-3693B9D9B83B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1017504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4A6C80F-E935-815F-F04B-212A50218E3C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5920232" y="4965192"/>
            <a:ext cx="4434840" cy="3035808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17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8EF48FC2-2CBC-9B58-ED8B-1D6684BF6CF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123CB56-A1A3-DFAD-5A48-452B29AE019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17504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AFBEBC5-3A0F-4622-8BE9-D6F649801BD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920232" y="1828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EA5825-A2C2-58B3-77D3-54942F972521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2960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AB72ED9-4166-A4A6-8E79-F636E8A2EA3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1017504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EDE8FDE-6EAE-A409-D080-5443CF5335F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920232" y="5257800"/>
            <a:ext cx="4434840" cy="2743200"/>
          </a:xfrm>
          <a:prstGeom prst="rect">
            <a:avLst/>
          </a:prstGeom>
        </p:spPr>
        <p:txBody>
          <a:bodyPr lIns="0" tIns="0" rIns="0" bIns="0"/>
          <a:lstStyle>
            <a:lvl4pPr>
              <a:defRPr sz="1600"/>
            </a:lvl4pPr>
            <a:lvl5pPr marL="1371600" indent="-228600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8666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0137BEE-B921-A945-80E6-C38B95E92354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BBE990-CD1D-304C-A878-01462CB32A74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9273FC-712D-7341-852B-1F9A92698452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F1EED4-9C02-4A24-A994-AD388A2977C2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6762ADD-EE9D-C113-9995-EA453DBB93C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AF682AC-2414-20D2-6C0F-ECBF0F324B4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CA07D5D-A5EE-DE3D-7BD1-D22EAABE3DE4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A1D3BE9-8793-AF6C-A99D-B3D1975836F3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0E24A822-C022-74F7-8D1A-498B0080094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498F6257-414D-BDE1-33E0-339F63A4FB9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C1CD9-0105-9360-7E59-E7204F89CF5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96A2212C-AAB5-39E4-D601-365B6CC415F9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BF726770-5E07-15C4-C4FF-BC236FAD3817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411FD9B-D94B-446D-0622-4BAAF2357B15}"/>
              </a:ext>
            </a:extLst>
          </p:cNvPr>
          <p:cNvSpPr>
            <a:spLocks noGrp="1"/>
          </p:cNvSpPr>
          <p:nvPr userDrawn="1"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97746703-B04C-0848-89A9-652B73476F33}"/>
              </a:ext>
            </a:extLst>
          </p:cNvPr>
          <p:cNvSpPr>
            <a:spLocks noGrp="1"/>
          </p:cNvSpPr>
          <p:nvPr userDrawn="1"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E3FFE8A6-C4DF-0C82-EB62-9327BC421F11}"/>
              </a:ext>
            </a:extLst>
          </p:cNvPr>
          <p:cNvSpPr>
            <a:spLocks noGrp="1"/>
          </p:cNvSpPr>
          <p:nvPr userDrawn="1"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4113AD-9669-17F0-C34F-8D62628DC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AC43F-5DD5-FD2A-E7DF-FD7BC03C443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798448-F78A-D63B-5BDA-C7BB32169B73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528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A68E03-81B8-0E6C-7539-0A9AB3D88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E9869-A020-008D-4F3D-E4C4BFC1B6A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C742B3-2EFD-76DF-DB57-81F29FF01C6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483C14-A6FB-BF43-5A5E-81DDFFF4F186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CFFC08-FC40-D66E-5EE2-FBE261CB5601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3B68A4-8979-45EA-42E7-0DCBBB4C047B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1D1C59-4A09-D4F7-1E2A-7CB2CE9F26A9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407944D3-E148-84E9-38F5-818D9AF158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48DC9EA-36A6-4A65-0AA3-6850706118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1EC4304-3A45-6650-99C6-8C86DEA34E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3148FC32-9A1C-6DA3-1A04-E204D1B328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FC6CFCA-B78E-E8E0-69CC-086BD1BB06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FFAC6A-DE24-7B5F-4995-63F0FC8B40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742166-73BB-C5B1-3843-B4A0087031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F717CFB-B736-F8DE-46AA-895306A447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08963A0-AEC4-DA23-E00B-9DE937EAB3BA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A8B8A0-0CDE-747B-A791-3BD932C33F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BBD819B-CBAC-0CC5-2A80-0D0FE6D12F4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35293BAF-1C3E-BA42-6905-32255B502ED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30775467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con_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2A67F-5690-659E-96AB-AEEE0D5E8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34880-69D8-859A-56DE-8A8F645538B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5C051-DA6B-2FEB-520F-FB39AE13EC7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D655B8-324A-742A-2A74-52FB58257069}"/>
              </a:ext>
            </a:extLst>
          </p:cNvPr>
          <p:cNvSpPr/>
          <p:nvPr userDrawn="1"/>
        </p:nvSpPr>
        <p:spPr bwMode="white">
          <a:xfrm>
            <a:off x="11964317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35CFE61-6636-E50C-8016-48164E07D899}"/>
              </a:ext>
            </a:extLst>
          </p:cNvPr>
          <p:cNvSpPr/>
          <p:nvPr userDrawn="1"/>
        </p:nvSpPr>
        <p:spPr bwMode="white">
          <a:xfrm>
            <a:off x="829831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692E5C8-A059-64BD-785D-99D08A57F103}"/>
              </a:ext>
            </a:extLst>
          </p:cNvPr>
          <p:cNvSpPr/>
          <p:nvPr userDrawn="1"/>
        </p:nvSpPr>
        <p:spPr bwMode="white">
          <a:xfrm>
            <a:off x="4556908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934E8-6D42-D939-09BF-24CC92CC71A0}"/>
              </a:ext>
            </a:extLst>
          </p:cNvPr>
          <p:cNvSpPr/>
          <p:nvPr userDrawn="1"/>
        </p:nvSpPr>
        <p:spPr bwMode="white">
          <a:xfrm>
            <a:off x="812800" y="1828799"/>
            <a:ext cx="3474720" cy="5838031"/>
          </a:xfrm>
          <a:prstGeom prst="rect">
            <a:avLst/>
          </a:prstGeom>
          <a:gradFill>
            <a:gsLst>
              <a:gs pos="50000">
                <a:schemeClr val="accent2">
                  <a:lumMod val="80000"/>
                </a:schemeClr>
              </a:gs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5CD7F86-41CA-FFE0-31A4-DB9D1A7910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349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11E3854A-8664-0FD3-F36A-552E0EC4BB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349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E6811A1F-E531-8C6A-17A8-9482720F27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47600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D024735-0F18-497D-AA34-61AC92EF9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47600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EA95950-6DB8-B87C-8D14-46A0AE3854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89002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0379882-DFA5-CDAE-F6D4-866BD6BCF7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89002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D65C74A-1B88-9B53-0893-0A9723118A7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55009" y="3644187"/>
            <a:ext cx="2893337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D0B6EFA-7F39-406E-2AB9-747580A2E4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55009" y="4832877"/>
            <a:ext cx="2893337" cy="246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812652" indent="0" algn="ctr">
              <a:buNone/>
              <a:defRPr sz="2800" b="1">
                <a:solidFill>
                  <a:schemeClr val="bg2"/>
                </a:solidFill>
              </a:defRPr>
            </a:lvl2pPr>
            <a:lvl3pPr marL="1625301" indent="0" algn="ctr">
              <a:buNone/>
              <a:defRPr sz="2800" b="1">
                <a:solidFill>
                  <a:schemeClr val="bg2"/>
                </a:solidFill>
              </a:defRPr>
            </a:lvl3pPr>
            <a:lvl4pPr marL="2437951" indent="0" algn="ctr">
              <a:buNone/>
              <a:defRPr sz="2800" b="1">
                <a:solidFill>
                  <a:schemeClr val="bg2"/>
                </a:solidFill>
              </a:defRPr>
            </a:lvl4pPr>
            <a:lvl5pPr marL="3250601" indent="0" algn="ctr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body</a:t>
            </a:r>
          </a:p>
          <a:p>
            <a:pPr lvl="0"/>
            <a:endParaRPr lang="en-US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D6F6077-C976-223F-8C23-D1173CBE9B4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97866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A0D78605-7388-029A-6EEC-205E2AD6B9B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22768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8CECD778-C1B5-7356-2768-CCC58C8C9C6B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464170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E94FB416-5A77-4913-6681-6505CE7D637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3130177" y="2168771"/>
            <a:ext cx="1143000" cy="1143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n icon</a:t>
            </a:r>
          </a:p>
        </p:txBody>
      </p:sp>
    </p:spTree>
    <p:extLst>
      <p:ext uri="{BB962C8B-B14F-4D97-AF65-F5344CB8AC3E}">
        <p14:creationId xmlns:p14="http://schemas.microsoft.com/office/powerpoint/2010/main" val="1248348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 content with images and sub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9BB031-585C-C483-0FF2-3019B14A359E}"/>
              </a:ext>
            </a:extLst>
          </p:cNvPr>
          <p:cNvSpPr/>
          <p:nvPr userDrawn="1"/>
        </p:nvSpPr>
        <p:spPr>
          <a:xfrm>
            <a:off x="0" y="3886200"/>
            <a:ext cx="16255999" cy="5257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0FDBFB5-FD34-4A0C-4A73-E661FF68C81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36429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/>
              <a:t>Click to add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45AF87-E6E8-D1D0-BFB6-CC82C95E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8FCCB3-0823-4573-3323-65D3079BB2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DD49AE8-7B59-3A8B-E92A-5F4132778F5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EF395226-C33E-0927-F1D2-ACC48E30C1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6" y="1126499"/>
            <a:ext cx="14620973" cy="4114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21" name="Content Placeholder 19">
            <a:extLst>
              <a:ext uri="{FF2B5EF4-FFF2-40B4-BE49-F238E27FC236}">
                <a16:creationId xmlns:a16="http://schemas.microsoft.com/office/drawing/2014/main" id="{67FB3129-B0D4-1CC4-6197-51DF5986E07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11540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7973B787-E959-4BDC-6E15-304DBD33C72D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858567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3" name="Content Placeholder 19">
            <a:extLst>
              <a:ext uri="{FF2B5EF4-FFF2-40B4-BE49-F238E27FC236}">
                <a16:creationId xmlns:a16="http://schemas.microsoft.com/office/drawing/2014/main" id="{7D2BA121-795A-1795-9A92-DCF99FAD42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609677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24" name="Content Placeholder 19">
            <a:extLst>
              <a:ext uri="{FF2B5EF4-FFF2-40B4-BE49-F238E27FC236}">
                <a16:creationId xmlns:a16="http://schemas.microsoft.com/office/drawing/2014/main" id="{7E00579C-540C-A80E-E9E1-D1C0C51B4211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511143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25" name="Content Placeholder 19">
            <a:extLst>
              <a:ext uri="{FF2B5EF4-FFF2-40B4-BE49-F238E27FC236}">
                <a16:creationId xmlns:a16="http://schemas.microsoft.com/office/drawing/2014/main" id="{594E6971-4515-516C-2CE7-306FAB407338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6254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DF890EDE-7F0E-D120-BC6A-737C63F8DADB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12605702" y="2288226"/>
            <a:ext cx="2286000" cy="2286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  <a:lvl4pPr>
              <a:defRPr/>
            </a:lvl4pPr>
          </a:lstStyle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photo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FD8B481C-C2BE-75D8-74DD-0A64D4C0A8A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2356812" y="4872628"/>
            <a:ext cx="2743200" cy="310896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0FFDD37-D2B7-5C16-F88E-CB52058E1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741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E36E575-BE8D-4BFC-9504-A64B4FFE1F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064874" y="0"/>
            <a:ext cx="5191126" cy="9144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003860-7807-48D6-A38E-B22E4D8C0E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22960" y="1485900"/>
            <a:ext cx="14630400" cy="6515100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/>
              <a:t>1 | Agenda item one</a:t>
            </a:r>
          </a:p>
          <a:p>
            <a:pPr lvl="0"/>
            <a:r>
              <a:rPr lang="en-US"/>
              <a:t>2 | Agenda item two</a:t>
            </a:r>
          </a:p>
          <a:p>
            <a:pPr lvl="0"/>
            <a:r>
              <a:rPr lang="en-US"/>
              <a:t>3 | Agenda item three</a:t>
            </a:r>
          </a:p>
          <a:p>
            <a:pPr lvl="0"/>
            <a:r>
              <a:rPr lang="en-US"/>
              <a:t>4 | Agenda item four</a:t>
            </a:r>
          </a:p>
          <a:p>
            <a:pPr lvl="0"/>
            <a:r>
              <a:rPr lang="en-US"/>
              <a:t>5 | Agenda item five</a:t>
            </a:r>
          </a:p>
        </p:txBody>
      </p: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C2F077E7-EFC3-4CC1-ACB0-00F2D00BB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5" t="12373" r="5847" b="10967"/>
          <a:stretch/>
        </p:blipFill>
        <p:spPr>
          <a:xfrm>
            <a:off x="14516559" y="8266323"/>
            <a:ext cx="926641" cy="4186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3509A8-F3D7-55A6-059D-FCAD731BF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FEC356-4E5D-6C07-536B-A1662BF8B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9554" y="8376538"/>
            <a:ext cx="1034854" cy="274320"/>
          </a:xfrm>
        </p:spPr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669C8A-B343-2793-71B4-7BC5FB08C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369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83C7082-0128-4664-9BDB-D40230454C3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5365214" cy="9144000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491C541F-5BAE-4F41-8844-B6AC302BDA7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" y="919391"/>
            <a:ext cx="2953082" cy="894428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mage icon to place a white or reversed logo in this area. Make sure that your logo fits proportionately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585E864-F49D-48A2-A90F-09E4EB6071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960" y="3050598"/>
            <a:ext cx="5013546" cy="3402126"/>
          </a:xfrm>
          <a:prstGeom prst="rect">
            <a:avLst/>
          </a:prstGeom>
          <a:gradFill flip="none" rotWithShape="1">
            <a:gsLst>
              <a:gs pos="45000">
                <a:schemeClr val="accent2">
                  <a:alpha val="93000"/>
                </a:schemeClr>
              </a:gs>
              <a:gs pos="100000">
                <a:schemeClr val="accent1"/>
              </a:gs>
              <a:gs pos="0">
                <a:schemeClr val="accent2">
                  <a:alpha val="85000"/>
                </a:schemeClr>
              </a:gs>
            </a:gsLst>
            <a:lin ang="13500000" scaled="1"/>
            <a:tileRect/>
          </a:gradFill>
        </p:spPr>
        <p:txBody>
          <a:bodyPr lIns="274320" tIns="274320" rIns="274320" bIns="457200" anchor="t">
            <a:norm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/>
              <a:defRPr sz="1800" b="0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6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33" name="Content Placeholder 16">
            <a:extLst>
              <a:ext uri="{FF2B5EF4-FFF2-40B4-BE49-F238E27FC236}">
                <a16:creationId xmlns:a16="http://schemas.microsoft.com/office/drawing/2014/main" id="{83755F43-A351-45FF-854E-376996DB972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2960" y="7391055"/>
            <a:ext cx="2073707" cy="61535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1400" b="1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Read full case study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AA3335D-FCA4-471C-9D6C-DC4C34E82A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8784" y="5633358"/>
            <a:ext cx="3777536" cy="603876"/>
          </a:xfrm>
          <a:prstGeom prst="rect">
            <a:avLst/>
          </a:prstGeom>
        </p:spPr>
        <p:txBody>
          <a:bodyPr>
            <a:noAutofit/>
          </a:bodyPr>
          <a:lstStyle>
            <a:lvl1pPr marL="12700" indent="0"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1600" b="1">
                <a:solidFill>
                  <a:schemeClr val="bg1"/>
                </a:solidFill>
              </a:defRPr>
            </a:lvl1pPr>
            <a:lvl2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2pPr>
            <a:lvl3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3pPr>
            <a:lvl4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4pPr>
            <a:lvl5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5pPr>
            <a:lvl6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6pPr>
            <a:lvl7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7pPr>
            <a:lvl8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8pPr>
            <a:lvl9pPr marL="114300" indent="0">
              <a:spcBef>
                <a:spcPts val="600"/>
              </a:spcBef>
              <a:buFont typeface="Arial" panose="020B0604020202020204" pitchFamily="34" charset="0"/>
              <a:buChar char="​"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uote source name, title, company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0181245-24A2-4E6A-A250-6F1DC11967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77A47A3-4B40-4292-BEBC-448B3AD67455}"/>
              </a:ext>
            </a:extLst>
          </p:cNvPr>
          <p:cNvSpPr txBox="1"/>
          <p:nvPr userDrawn="1"/>
        </p:nvSpPr>
        <p:spPr>
          <a:xfrm>
            <a:off x="6286757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6350" indent="0" algn="l">
              <a:buFontTx/>
              <a:buNone/>
              <a:tabLst/>
            </a:pPr>
            <a:r>
              <a:rPr lang="en-US" sz="1600" b="1">
                <a:solidFill>
                  <a:schemeClr val="accent2"/>
                </a:solidFill>
              </a:rPr>
              <a:t>CHALLENG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9F75AC-3771-46AC-A142-355E85B4751A}"/>
              </a:ext>
            </a:extLst>
          </p:cNvPr>
          <p:cNvSpPr txBox="1"/>
          <p:nvPr userDrawn="1"/>
        </p:nvSpPr>
        <p:spPr>
          <a:xfrm>
            <a:off x="9530474" y="1828722"/>
            <a:ext cx="2408353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SOLU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20B41C-BCEA-4791-A67F-7823C8D8B463}"/>
              </a:ext>
            </a:extLst>
          </p:cNvPr>
          <p:cNvSpPr txBox="1"/>
          <p:nvPr userDrawn="1"/>
        </p:nvSpPr>
        <p:spPr>
          <a:xfrm>
            <a:off x="12689840" y="1828723"/>
            <a:ext cx="2382081" cy="338554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algn="l"/>
            <a:r>
              <a:rPr lang="en-US" sz="1600" b="1">
                <a:solidFill>
                  <a:schemeClr val="accent2"/>
                </a:solidFill>
              </a:rPr>
              <a:t>RESULTS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F09A91BF-EF16-4749-BF18-094CE864278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86757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1BAE81F6-559B-4DEE-A9A8-B422C6D1DF2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530474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6D359901-06E6-4E1E-BC97-09B70A13D61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2689840" y="2403890"/>
            <a:ext cx="2743200" cy="5597105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242888" indent="-211138">
              <a:buFont typeface="Arial" panose="020B0604020202020204" pitchFamily="34" charset="0"/>
              <a:buChar char="•"/>
              <a:defRPr sz="1800"/>
            </a:lvl2pPr>
            <a:lvl3pPr marL="528638" indent="-276225"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Insert bullet conten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9B93EC-5EC6-4EA8-8D04-E31777308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86757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76F20-62A1-4AC0-883C-3E2425022ADD}"/>
              </a:ext>
            </a:extLst>
          </p:cNvPr>
          <p:cNvCxnSpPr>
            <a:cxnSpLocks/>
          </p:cNvCxnSpPr>
          <p:nvPr userDrawn="1"/>
        </p:nvCxnSpPr>
        <p:spPr>
          <a:xfrm flipH="1">
            <a:off x="9530474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FF515DE-D450-49BD-B79E-A6D7E6AC677E}"/>
              </a:ext>
            </a:extLst>
          </p:cNvPr>
          <p:cNvCxnSpPr>
            <a:cxnSpLocks/>
          </p:cNvCxnSpPr>
          <p:nvPr userDrawn="1"/>
        </p:nvCxnSpPr>
        <p:spPr>
          <a:xfrm flipH="1">
            <a:off x="12689840" y="2167276"/>
            <a:ext cx="27432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D182193-76C5-A40A-34A5-9C32FFBCC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046" y="485162"/>
            <a:ext cx="9153297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530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lines on a black background&#10;&#10;Description automatically generated">
            <a:extLst>
              <a:ext uri="{FF2B5EF4-FFF2-40B4-BE49-F238E27FC236}">
                <a16:creationId xmlns:a16="http://schemas.microsoft.com/office/drawing/2014/main" id="{CC63DBCA-D69E-809E-5571-6A0D8C0C1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978" y="0"/>
            <a:ext cx="9180022" cy="9144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05B99A1-A9F9-BBBE-C5D8-1CBE751074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920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Burst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BEEBCD5-F3B9-4D63-920F-C9F1558FD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98E6F1-FB6B-4E26-B810-E7FC6B5401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64725" y="0"/>
            <a:ext cx="6391275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50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irc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58946E-7637-4304-A317-3DB2F2F70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0949" y="0"/>
            <a:ext cx="61150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96A9F6-84EA-4F05-9E24-F3CA3B2D3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342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Connected dot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CC1325F-6F39-42D1-A39F-0172F3ED6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559" y="4085519"/>
            <a:ext cx="14089441" cy="50584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CB5A1E-0F64-4CCE-A986-7B6D21B2EB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241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bbon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72E4D3-BC29-4B89-984E-F26E11E450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31049" y="0"/>
            <a:ext cx="9124951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88964C-91B1-436C-8775-060C3843C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270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Ripple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C82DA98-5168-489B-BD27-62D0E4FCFD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3351" y="1084725"/>
            <a:ext cx="7401958" cy="80592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EF7F4-D864-4C22-919A-09743A9D20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95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Waves">
    <p:bg>
      <p:bg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C892F5-BF7B-49F6-A81C-78C435F033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4874" y="0"/>
            <a:ext cx="5191126" cy="914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4D0273-C91D-4817-B0E0-8AC4B36EC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48" y="3626365"/>
            <a:ext cx="3885878" cy="269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223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749ACC2-314B-BE7F-C4D2-9A317BFF7B4F}"/>
              </a:ext>
            </a:extLst>
          </p:cNvPr>
          <p:cNvSpPr/>
          <p:nvPr userDrawn="1"/>
        </p:nvSpPr>
        <p:spPr>
          <a:xfrm>
            <a:off x="822960" y="1828800"/>
            <a:ext cx="14629384" cy="6172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DF9C94DC-D1F0-464B-AE9B-9FB2FFF0426B}"/>
              </a:ext>
            </a:extLst>
          </p:cNvPr>
          <p:cNvGrpSpPr/>
          <p:nvPr/>
        </p:nvGrpSpPr>
        <p:grpSpPr>
          <a:xfrm>
            <a:off x="807252" y="1828800"/>
            <a:ext cx="14645092" cy="6172200"/>
            <a:chOff x="525688" y="965357"/>
            <a:chExt cx="11154401" cy="5631831"/>
          </a:xfrm>
        </p:grpSpPr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7FD3E0D4-26D8-477C-81E9-E05DCFFA82FA}"/>
                </a:ext>
              </a:extLst>
            </p:cNvPr>
            <p:cNvSpPr/>
            <p:nvPr/>
          </p:nvSpPr>
          <p:spPr>
            <a:xfrm>
              <a:off x="52568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0" name="Rectangle 389">
              <a:extLst>
                <a:ext uri="{FF2B5EF4-FFF2-40B4-BE49-F238E27FC236}">
                  <a16:creationId xmlns:a16="http://schemas.microsoft.com/office/drawing/2014/main" id="{8CBD9651-3189-42AA-8984-0AFB159FC0EA}"/>
                </a:ext>
              </a:extLst>
            </p:cNvPr>
            <p:cNvSpPr/>
            <p:nvPr/>
          </p:nvSpPr>
          <p:spPr>
            <a:xfrm>
              <a:off x="1473222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1" name="Rectangle 390">
              <a:extLst>
                <a:ext uri="{FF2B5EF4-FFF2-40B4-BE49-F238E27FC236}">
                  <a16:creationId xmlns:a16="http://schemas.microsoft.com/office/drawing/2014/main" id="{81988AB6-21B7-481C-B595-3F780F3E9F53}"/>
                </a:ext>
              </a:extLst>
            </p:cNvPr>
            <p:cNvSpPr/>
            <p:nvPr/>
          </p:nvSpPr>
          <p:spPr>
            <a:xfrm>
              <a:off x="242075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39DDE36E-32F7-460B-988A-D31B6132E9EA}"/>
                </a:ext>
              </a:extLst>
            </p:cNvPr>
            <p:cNvSpPr/>
            <p:nvPr/>
          </p:nvSpPr>
          <p:spPr>
            <a:xfrm>
              <a:off x="336829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BCC17DCC-9754-4816-92B3-394667032CCC}"/>
                </a:ext>
              </a:extLst>
            </p:cNvPr>
            <p:cNvSpPr/>
            <p:nvPr/>
          </p:nvSpPr>
          <p:spPr>
            <a:xfrm>
              <a:off x="4315825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D045F482-E486-40BB-85AA-BC1630007687}"/>
                </a:ext>
              </a:extLst>
            </p:cNvPr>
            <p:cNvSpPr/>
            <p:nvPr/>
          </p:nvSpPr>
          <p:spPr>
            <a:xfrm>
              <a:off x="5263360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C3D47B6C-50AB-4DF6-82D4-3F908585B00B}"/>
                </a:ext>
              </a:extLst>
            </p:cNvPr>
            <p:cNvSpPr/>
            <p:nvPr/>
          </p:nvSpPr>
          <p:spPr>
            <a:xfrm>
              <a:off x="6210894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3AFBA864-8FFF-42CD-A936-205BA937C58D}"/>
                </a:ext>
              </a:extLst>
            </p:cNvPr>
            <p:cNvSpPr/>
            <p:nvPr/>
          </p:nvSpPr>
          <p:spPr>
            <a:xfrm>
              <a:off x="7158428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0AB6FC89-52E3-4FFB-851C-85FD7C051FC5}"/>
                </a:ext>
              </a:extLst>
            </p:cNvPr>
            <p:cNvSpPr/>
            <p:nvPr/>
          </p:nvSpPr>
          <p:spPr>
            <a:xfrm>
              <a:off x="8105963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4B81C939-A67F-4DB1-9EE3-E7C9CABCE2AF}"/>
                </a:ext>
              </a:extLst>
            </p:cNvPr>
            <p:cNvSpPr/>
            <p:nvPr/>
          </p:nvSpPr>
          <p:spPr>
            <a:xfrm>
              <a:off x="9053497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C30533AE-D93F-4433-8561-D884886B8CD9}"/>
                </a:ext>
              </a:extLst>
            </p:cNvPr>
            <p:cNvSpPr/>
            <p:nvPr/>
          </p:nvSpPr>
          <p:spPr>
            <a:xfrm>
              <a:off x="10001031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86F057C-C303-4E97-9FC5-784D6C988AB7}"/>
                </a:ext>
              </a:extLst>
            </p:cNvPr>
            <p:cNvSpPr/>
            <p:nvPr/>
          </p:nvSpPr>
          <p:spPr>
            <a:xfrm>
              <a:off x="10948569" y="965357"/>
              <a:ext cx="731520" cy="5631831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FEA1E562-C5D0-4A51-BBA7-18FBA5EDD06D}"/>
              </a:ext>
            </a:extLst>
          </p:cNvPr>
          <p:cNvCxnSpPr>
            <a:cxnSpLocks/>
          </p:cNvCxnSpPr>
          <p:nvPr/>
        </p:nvCxnSpPr>
        <p:spPr>
          <a:xfrm flipH="1">
            <a:off x="910278" y="223309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00B2B38F-890F-4163-8187-A7B733720E5A}"/>
              </a:ext>
            </a:extLst>
          </p:cNvPr>
          <p:cNvCxnSpPr>
            <a:cxnSpLocks/>
          </p:cNvCxnSpPr>
          <p:nvPr/>
        </p:nvCxnSpPr>
        <p:spPr>
          <a:xfrm flipH="1">
            <a:off x="910278" y="2591142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07E41F-1906-4367-9DF7-80695246E3BD}"/>
              </a:ext>
            </a:extLst>
          </p:cNvPr>
          <p:cNvCxnSpPr>
            <a:cxnSpLocks/>
          </p:cNvCxnSpPr>
          <p:nvPr/>
        </p:nvCxnSpPr>
        <p:spPr>
          <a:xfrm flipH="1">
            <a:off x="910278" y="294918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A15329FE-F984-487C-9DD1-4437558AFBCE}"/>
              </a:ext>
            </a:extLst>
          </p:cNvPr>
          <p:cNvCxnSpPr>
            <a:cxnSpLocks/>
          </p:cNvCxnSpPr>
          <p:nvPr/>
        </p:nvCxnSpPr>
        <p:spPr>
          <a:xfrm flipH="1">
            <a:off x="910278" y="330723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874D95F7-0ED5-43F1-977F-CD2965366D3B}"/>
              </a:ext>
            </a:extLst>
          </p:cNvPr>
          <p:cNvCxnSpPr>
            <a:cxnSpLocks/>
          </p:cNvCxnSpPr>
          <p:nvPr/>
        </p:nvCxnSpPr>
        <p:spPr>
          <a:xfrm flipH="1">
            <a:off x="910278" y="3665282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8B36F74A-71D9-43A9-83A1-96251A2B66E6}"/>
              </a:ext>
            </a:extLst>
          </p:cNvPr>
          <p:cNvCxnSpPr>
            <a:cxnSpLocks/>
          </p:cNvCxnSpPr>
          <p:nvPr/>
        </p:nvCxnSpPr>
        <p:spPr>
          <a:xfrm flipH="1">
            <a:off x="910278" y="402332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454EE8CE-1555-4332-B731-22E6817F7CAF}"/>
              </a:ext>
            </a:extLst>
          </p:cNvPr>
          <p:cNvCxnSpPr>
            <a:cxnSpLocks/>
          </p:cNvCxnSpPr>
          <p:nvPr/>
        </p:nvCxnSpPr>
        <p:spPr>
          <a:xfrm flipH="1">
            <a:off x="910278" y="4381375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D553563E-CC65-4935-BF1A-F66423DA1E5B}"/>
              </a:ext>
            </a:extLst>
          </p:cNvPr>
          <p:cNvCxnSpPr>
            <a:cxnSpLocks/>
          </p:cNvCxnSpPr>
          <p:nvPr/>
        </p:nvCxnSpPr>
        <p:spPr>
          <a:xfrm flipH="1">
            <a:off x="910278" y="473942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8DD97AD5-8B38-4F46-98BA-DAD1426DE01D}"/>
              </a:ext>
            </a:extLst>
          </p:cNvPr>
          <p:cNvCxnSpPr>
            <a:cxnSpLocks/>
          </p:cNvCxnSpPr>
          <p:nvPr/>
        </p:nvCxnSpPr>
        <p:spPr>
          <a:xfrm flipH="1">
            <a:off x="910278" y="5097468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05366224-C365-4589-A5AA-BE9FC038C066}"/>
              </a:ext>
            </a:extLst>
          </p:cNvPr>
          <p:cNvCxnSpPr>
            <a:cxnSpLocks/>
          </p:cNvCxnSpPr>
          <p:nvPr/>
        </p:nvCxnSpPr>
        <p:spPr>
          <a:xfrm flipH="1">
            <a:off x="910278" y="5455515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468F73AF-FA4C-47BF-8F12-9BF3E8F7ED73}"/>
              </a:ext>
            </a:extLst>
          </p:cNvPr>
          <p:cNvCxnSpPr>
            <a:cxnSpLocks/>
          </p:cNvCxnSpPr>
          <p:nvPr/>
        </p:nvCxnSpPr>
        <p:spPr>
          <a:xfrm flipH="1">
            <a:off x="910278" y="5813561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E3EAFD19-9642-4D10-BF1D-1B015E2ABF79}"/>
              </a:ext>
            </a:extLst>
          </p:cNvPr>
          <p:cNvCxnSpPr>
            <a:cxnSpLocks/>
          </p:cNvCxnSpPr>
          <p:nvPr/>
        </p:nvCxnSpPr>
        <p:spPr>
          <a:xfrm flipH="1">
            <a:off x="910278" y="6171608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3BA232E8-9057-47FB-B30C-5072A11273E5}"/>
              </a:ext>
            </a:extLst>
          </p:cNvPr>
          <p:cNvCxnSpPr>
            <a:cxnSpLocks/>
          </p:cNvCxnSpPr>
          <p:nvPr/>
        </p:nvCxnSpPr>
        <p:spPr>
          <a:xfrm flipH="1">
            <a:off x="910278" y="6529654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5EA84214-E43C-4F53-9557-CA9471D4763B}"/>
              </a:ext>
            </a:extLst>
          </p:cNvPr>
          <p:cNvCxnSpPr>
            <a:cxnSpLocks/>
          </p:cNvCxnSpPr>
          <p:nvPr/>
        </p:nvCxnSpPr>
        <p:spPr>
          <a:xfrm flipH="1">
            <a:off x="910278" y="6887701"/>
            <a:ext cx="14538470" cy="0"/>
          </a:xfrm>
          <a:prstGeom prst="line">
            <a:avLst/>
          </a:prstGeom>
          <a:ln w="6350">
            <a:solidFill>
              <a:srgbClr val="C000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522C9B5D-1F37-402A-B9DB-CF41787CB6EB}"/>
              </a:ext>
            </a:extLst>
          </p:cNvPr>
          <p:cNvCxnSpPr>
            <a:cxnSpLocks/>
          </p:cNvCxnSpPr>
          <p:nvPr/>
        </p:nvCxnSpPr>
        <p:spPr>
          <a:xfrm flipH="1">
            <a:off x="910278" y="7242737"/>
            <a:ext cx="1453847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8" name="Rectangle 387">
            <a:extLst>
              <a:ext uri="{FF2B5EF4-FFF2-40B4-BE49-F238E27FC236}">
                <a16:creationId xmlns:a16="http://schemas.microsoft.com/office/drawing/2014/main" id="{7DFFB087-955D-450D-AC13-0D338C9361C9}"/>
              </a:ext>
            </a:extLst>
          </p:cNvPr>
          <p:cNvSpPr/>
          <p:nvPr/>
        </p:nvSpPr>
        <p:spPr>
          <a:xfrm>
            <a:off x="7560677" y="1941940"/>
            <a:ext cx="1256803" cy="5922452"/>
          </a:xfrm>
          <a:prstGeom prst="rect">
            <a:avLst/>
          </a:prstGeom>
          <a:solidFill>
            <a:schemeClr val="bg1">
              <a:alpha val="21000"/>
            </a:schemeClr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A5A416-FF1C-6A93-38E5-D2705D90745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2960" y="485162"/>
            <a:ext cx="14629384" cy="88643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Grid</a:t>
            </a:r>
          </a:p>
        </p:txBody>
      </p:sp>
    </p:spTree>
    <p:extLst>
      <p:ext uri="{BB962C8B-B14F-4D97-AF65-F5344CB8AC3E}">
        <p14:creationId xmlns:p14="http://schemas.microsoft.com/office/powerpoint/2010/main" val="1521710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671D61-DAA5-B84C-25E6-6B60C749E28B}"/>
              </a:ext>
            </a:extLst>
          </p:cNvPr>
          <p:cNvSpPr/>
          <p:nvPr userDrawn="1"/>
        </p:nvSpPr>
        <p:spPr>
          <a:xfrm>
            <a:off x="0" y="0"/>
            <a:ext cx="16256000" cy="91440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F581B6-F40B-4F4D-93CC-A52E16114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36F6A3-1265-D6C0-F4B4-7A48426E0B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266540-655C-8ACE-DA8D-60CC96805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8D5DE86-F0C2-7857-1B2B-DBACE20278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213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slideLayout" Target="../slideLayouts/slideLayout93.xml"/><Relationship Id="rId47" Type="http://schemas.openxmlformats.org/officeDocument/2006/relationships/slideLayout" Target="../slideLayouts/slideLayout98.xml"/><Relationship Id="rId50" Type="http://schemas.openxmlformats.org/officeDocument/2006/relationships/slideLayout" Target="../slideLayouts/slideLayout101.xml"/><Relationship Id="rId55" Type="http://schemas.openxmlformats.org/officeDocument/2006/relationships/slideLayout" Target="../slideLayouts/slideLayout106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slideLayout" Target="../slideLayouts/slideLayout96.xml"/><Relationship Id="rId53" Type="http://schemas.openxmlformats.org/officeDocument/2006/relationships/slideLayout" Target="../slideLayouts/slideLayout104.xml"/><Relationship Id="rId58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56.xml"/><Relationship Id="rId61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slideLayout" Target="../slideLayouts/slideLayout94.xml"/><Relationship Id="rId48" Type="http://schemas.openxmlformats.org/officeDocument/2006/relationships/slideLayout" Target="../slideLayouts/slideLayout99.xml"/><Relationship Id="rId56" Type="http://schemas.openxmlformats.org/officeDocument/2006/relationships/slideLayout" Target="../slideLayouts/slideLayout107.xml"/><Relationship Id="rId64" Type="http://schemas.openxmlformats.org/officeDocument/2006/relationships/image" Target="../media/image2.svg"/><Relationship Id="rId8" Type="http://schemas.openxmlformats.org/officeDocument/2006/relationships/slideLayout" Target="../slideLayouts/slideLayout59.xml"/><Relationship Id="rId51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slideLayout" Target="../slideLayouts/slideLayout97.xml"/><Relationship Id="rId59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92.xml"/><Relationship Id="rId54" Type="http://schemas.openxmlformats.org/officeDocument/2006/relationships/slideLayout" Target="../slideLayouts/slideLayout10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49" Type="http://schemas.openxmlformats.org/officeDocument/2006/relationships/slideLayout" Target="../slideLayouts/slideLayout100.xml"/><Relationship Id="rId57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82.xml"/><Relationship Id="rId44" Type="http://schemas.openxmlformats.org/officeDocument/2006/relationships/slideLayout" Target="../slideLayouts/slideLayout95.xml"/><Relationship Id="rId52" Type="http://schemas.openxmlformats.org/officeDocument/2006/relationships/slideLayout" Target="../slideLayouts/slideLayout103.xml"/><Relationship Id="rId6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slideLayout" Target="../slideLayouts/slideLayout138.xml"/><Relationship Id="rId39" Type="http://schemas.openxmlformats.org/officeDocument/2006/relationships/slideLayout" Target="../slideLayouts/slideLayout151.xml"/><Relationship Id="rId21" Type="http://schemas.openxmlformats.org/officeDocument/2006/relationships/slideLayout" Target="../slideLayouts/slideLayout133.xml"/><Relationship Id="rId34" Type="http://schemas.openxmlformats.org/officeDocument/2006/relationships/slideLayout" Target="../slideLayouts/slideLayout146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9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slideLayout" Target="../slideLayouts/slideLayout136.xml"/><Relationship Id="rId32" Type="http://schemas.openxmlformats.org/officeDocument/2006/relationships/slideLayout" Target="../slideLayouts/slideLayout144.xml"/><Relationship Id="rId37" Type="http://schemas.openxmlformats.org/officeDocument/2006/relationships/slideLayout" Target="../slideLayouts/slideLayout149.xml"/><Relationship Id="rId40" Type="http://schemas.openxmlformats.org/officeDocument/2006/relationships/slideLayout" Target="../slideLayouts/slideLayout152.xml"/><Relationship Id="rId45" Type="http://schemas.openxmlformats.org/officeDocument/2006/relationships/image" Target="../media/image34.emf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slideLayout" Target="../slideLayouts/slideLayout135.xml"/><Relationship Id="rId28" Type="http://schemas.openxmlformats.org/officeDocument/2006/relationships/slideLayout" Target="../slideLayouts/slideLayout140.xml"/><Relationship Id="rId36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31" Type="http://schemas.openxmlformats.org/officeDocument/2006/relationships/slideLayout" Target="../slideLayouts/slideLayout143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slideLayout" Target="../slideLayouts/slideLayout139.xml"/><Relationship Id="rId30" Type="http://schemas.openxmlformats.org/officeDocument/2006/relationships/slideLayout" Target="../slideLayouts/slideLayout142.xml"/><Relationship Id="rId35" Type="http://schemas.openxmlformats.org/officeDocument/2006/relationships/slideLayout" Target="../slideLayouts/slideLayout147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slideLayout" Target="../slideLayouts/slideLayout137.xml"/><Relationship Id="rId33" Type="http://schemas.openxmlformats.org/officeDocument/2006/relationships/slideLayout" Target="../slideLayouts/slideLayout145.xml"/><Relationship Id="rId38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32.xml"/><Relationship Id="rId41" Type="http://schemas.openxmlformats.org/officeDocument/2006/relationships/slideLayout" Target="../slideLayouts/slideLayout15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slideLayout" Target="../slideLayouts/slideLayout179.xml"/><Relationship Id="rId39" Type="http://schemas.openxmlformats.org/officeDocument/2006/relationships/slideLayout" Target="../slideLayouts/slideLayout192.xml"/><Relationship Id="rId21" Type="http://schemas.openxmlformats.org/officeDocument/2006/relationships/slideLayout" Target="../slideLayouts/slideLayout174.xml"/><Relationship Id="rId34" Type="http://schemas.openxmlformats.org/officeDocument/2006/relationships/slideLayout" Target="../slideLayouts/slideLayout187.xml"/><Relationship Id="rId42" Type="http://schemas.openxmlformats.org/officeDocument/2006/relationships/slideLayout" Target="../slideLayouts/slideLayout195.xml"/><Relationship Id="rId47" Type="http://schemas.openxmlformats.org/officeDocument/2006/relationships/slideLayout" Target="../slideLayouts/slideLayout200.xml"/><Relationship Id="rId50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slideLayout" Target="../slideLayouts/slideLayout185.xml"/><Relationship Id="rId37" Type="http://schemas.openxmlformats.org/officeDocument/2006/relationships/slideLayout" Target="../slideLayouts/slideLayout190.xml"/><Relationship Id="rId40" Type="http://schemas.openxmlformats.org/officeDocument/2006/relationships/slideLayout" Target="../slideLayouts/slideLayout193.xml"/><Relationship Id="rId45" Type="http://schemas.openxmlformats.org/officeDocument/2006/relationships/slideLayout" Target="../slideLayouts/slideLayout198.xml"/><Relationship Id="rId53" Type="http://schemas.openxmlformats.org/officeDocument/2006/relationships/image" Target="../media/image1.png"/><Relationship Id="rId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slideLayout" Target="../slideLayouts/slideLayout184.xml"/><Relationship Id="rId44" Type="http://schemas.openxmlformats.org/officeDocument/2006/relationships/slideLayout" Target="../slideLayouts/slideLayout197.xml"/><Relationship Id="rId52" Type="http://schemas.openxmlformats.org/officeDocument/2006/relationships/theme" Target="../theme/theme4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Relationship Id="rId35" Type="http://schemas.openxmlformats.org/officeDocument/2006/relationships/slideLayout" Target="../slideLayouts/slideLayout188.xml"/><Relationship Id="rId43" Type="http://schemas.openxmlformats.org/officeDocument/2006/relationships/slideLayout" Target="../slideLayouts/slideLayout196.xml"/><Relationship Id="rId48" Type="http://schemas.openxmlformats.org/officeDocument/2006/relationships/slideLayout" Target="../slideLayouts/slideLayout201.xml"/><Relationship Id="rId8" Type="http://schemas.openxmlformats.org/officeDocument/2006/relationships/slideLayout" Target="../slideLayouts/slideLayout161.xml"/><Relationship Id="rId51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slideLayout" Target="../slideLayouts/slideLayout186.xml"/><Relationship Id="rId38" Type="http://schemas.openxmlformats.org/officeDocument/2006/relationships/slideLayout" Target="../slideLayouts/slideLayout191.xml"/><Relationship Id="rId46" Type="http://schemas.openxmlformats.org/officeDocument/2006/relationships/slideLayout" Target="../slideLayouts/slideLayout199.xml"/><Relationship Id="rId20" Type="http://schemas.openxmlformats.org/officeDocument/2006/relationships/slideLayout" Target="../slideLayouts/slideLayout173.xml"/><Relationship Id="rId41" Type="http://schemas.openxmlformats.org/officeDocument/2006/relationships/slideLayout" Target="../slideLayouts/slideLayout194.xml"/><Relationship Id="rId54" Type="http://schemas.openxmlformats.org/officeDocument/2006/relationships/image" Target="../media/image2.svg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36" Type="http://schemas.openxmlformats.org/officeDocument/2006/relationships/slideLayout" Target="../slideLayouts/slideLayout189.xml"/><Relationship Id="rId49" Type="http://schemas.openxmlformats.org/officeDocument/2006/relationships/slideLayout" Target="../slideLayouts/slideLayout2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8147D09-81D3-46F2-A95A-BF23D4C7F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E2FE400-1053-BBD0-001F-0C04C860BC41}"/>
              </a:ext>
            </a:extLst>
          </p:cNvPr>
          <p:cNvPicPr>
            <a:picLocks noChangeAspect="1"/>
          </p:cNvPicPr>
          <p:nvPr userDrawn="1"/>
        </p:nvPicPr>
        <p:blipFill>
          <a:blip r:embed="rId5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B86D2F2-A5CD-0754-A40D-5949BD583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2800" y="8376537"/>
            <a:ext cx="356124" cy="27432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D1703A-CC22-3745-6C2A-6C1CCABE3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9554" y="8376538"/>
            <a:ext cx="103485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608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8" r:id="rId1"/>
    <p:sldLayoutId id="2147484239" r:id="rId2"/>
    <p:sldLayoutId id="2147484240" r:id="rId3"/>
    <p:sldLayoutId id="2147484241" r:id="rId4"/>
    <p:sldLayoutId id="2147484242" r:id="rId5"/>
    <p:sldLayoutId id="2147484243" r:id="rId6"/>
    <p:sldLayoutId id="2147484244" r:id="rId7"/>
    <p:sldLayoutId id="2147484245" r:id="rId8"/>
    <p:sldLayoutId id="2147484246" r:id="rId9"/>
    <p:sldLayoutId id="2147484247" r:id="rId10"/>
    <p:sldLayoutId id="2147484248" r:id="rId11"/>
    <p:sldLayoutId id="2147484249" r:id="rId12"/>
    <p:sldLayoutId id="2147484250" r:id="rId13"/>
    <p:sldLayoutId id="2147484251" r:id="rId14"/>
    <p:sldLayoutId id="2147484252" r:id="rId15"/>
    <p:sldLayoutId id="2147484253" r:id="rId16"/>
    <p:sldLayoutId id="2147484255" r:id="rId17"/>
    <p:sldLayoutId id="2147484256" r:id="rId18"/>
    <p:sldLayoutId id="2147484257" r:id="rId19"/>
    <p:sldLayoutId id="2147484258" r:id="rId20"/>
    <p:sldLayoutId id="2147484259" r:id="rId21"/>
    <p:sldLayoutId id="2147484260" r:id="rId22"/>
    <p:sldLayoutId id="2147484261" r:id="rId23"/>
    <p:sldLayoutId id="2147484262" r:id="rId24"/>
    <p:sldLayoutId id="2147484263" r:id="rId25"/>
    <p:sldLayoutId id="2147484264" r:id="rId26"/>
    <p:sldLayoutId id="2147484265" r:id="rId27"/>
    <p:sldLayoutId id="2147484266" r:id="rId28"/>
    <p:sldLayoutId id="2147484267" r:id="rId29"/>
    <p:sldLayoutId id="2147484268" r:id="rId30"/>
    <p:sldLayoutId id="2147484269" r:id="rId31"/>
    <p:sldLayoutId id="2147484270" r:id="rId32"/>
    <p:sldLayoutId id="2147484271" r:id="rId33"/>
    <p:sldLayoutId id="2147484272" r:id="rId34"/>
    <p:sldLayoutId id="2147484273" r:id="rId35"/>
    <p:sldLayoutId id="2147484274" r:id="rId36"/>
    <p:sldLayoutId id="2147484275" r:id="rId37"/>
    <p:sldLayoutId id="2147484276" r:id="rId38"/>
    <p:sldLayoutId id="2147484277" r:id="rId39"/>
    <p:sldLayoutId id="2147484278" r:id="rId40"/>
    <p:sldLayoutId id="2147484279" r:id="rId41"/>
    <p:sldLayoutId id="2147484280" r:id="rId42"/>
    <p:sldLayoutId id="2147484281" r:id="rId43"/>
    <p:sldLayoutId id="2147484282" r:id="rId44"/>
    <p:sldLayoutId id="2147484283" r:id="rId45"/>
    <p:sldLayoutId id="2147484284" r:id="rId46"/>
    <p:sldLayoutId id="2147484285" r:id="rId47"/>
    <p:sldLayoutId id="2147484286" r:id="rId48"/>
    <p:sldLayoutId id="2147484639" r:id="rId49"/>
    <p:sldLayoutId id="2147484287" r:id="rId50"/>
    <p:sldLayoutId id="2147484641" r:id="rId51"/>
  </p:sldLayoutIdLst>
  <p:hf hdr="0" dt="0"/>
  <p:txStyles>
    <p:titleStyle>
      <a:lvl1pPr algn="l" defTabSz="812650" rtl="0" eaLnBrk="1" latinLnBrk="0" hangingPunct="1">
        <a:lnSpc>
          <a:spcPct val="89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2650" rtl="0" eaLnBrk="1" latinLnBrk="0" hangingPunct="1"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defTabSz="812650" rtl="0" eaLnBrk="1" latinLnBrk="0" hangingPunct="1">
        <a:spcBef>
          <a:spcPts val="0"/>
        </a:spcBef>
        <a:spcAft>
          <a:spcPts val="600"/>
        </a:spcAft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6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30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79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6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2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59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85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2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5040">
          <p15:clr>
            <a:srgbClr val="F26B43"/>
          </p15:clr>
        </p15:guide>
        <p15:guide id="5" pos="9728">
          <p15:clr>
            <a:srgbClr val="F26B43"/>
          </p15:clr>
        </p15:guide>
        <p15:guide id="6" pos="512">
          <p15:clr>
            <a:srgbClr val="F26B43"/>
          </p15:clr>
        </p15:guide>
        <p15:guide id="7" orient="horz" pos="936">
          <p15:clr>
            <a:srgbClr val="F26B43"/>
          </p15:clr>
        </p15:guide>
        <p15:guide id="8" orient="horz" pos="115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8147D09-81D3-46F2-A95A-BF23D4C7F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E2FE400-1053-BBD0-001F-0C04C860BC41}"/>
              </a:ext>
            </a:extLst>
          </p:cNvPr>
          <p:cNvPicPr>
            <a:picLocks noChangeAspect="1"/>
          </p:cNvPicPr>
          <p:nvPr userDrawn="1"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B86D2F2-A5CD-0754-A40D-5949BD583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2800" y="8376537"/>
            <a:ext cx="356124" cy="27432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D1703A-CC22-3745-6C2A-6C1CCABE3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9554" y="8376538"/>
            <a:ext cx="103485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10614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3" r:id="rId1"/>
    <p:sldLayoutId id="2147484644" r:id="rId2"/>
    <p:sldLayoutId id="2147484645" r:id="rId3"/>
    <p:sldLayoutId id="2147484646" r:id="rId4"/>
    <p:sldLayoutId id="2147484647" r:id="rId5"/>
    <p:sldLayoutId id="2147484648" r:id="rId6"/>
    <p:sldLayoutId id="2147484649" r:id="rId7"/>
    <p:sldLayoutId id="2147484650" r:id="rId8"/>
    <p:sldLayoutId id="2147484651" r:id="rId9"/>
    <p:sldLayoutId id="2147484652" r:id="rId10"/>
    <p:sldLayoutId id="2147484653" r:id="rId11"/>
    <p:sldLayoutId id="2147484654" r:id="rId12"/>
    <p:sldLayoutId id="2147484655" r:id="rId13"/>
    <p:sldLayoutId id="2147484656" r:id="rId14"/>
    <p:sldLayoutId id="2147484657" r:id="rId15"/>
    <p:sldLayoutId id="2147484658" r:id="rId16"/>
    <p:sldLayoutId id="2147484659" r:id="rId17"/>
    <p:sldLayoutId id="2147484660" r:id="rId18"/>
    <p:sldLayoutId id="2147484661" r:id="rId19"/>
    <p:sldLayoutId id="2147484662" r:id="rId20"/>
    <p:sldLayoutId id="2147484663" r:id="rId21"/>
    <p:sldLayoutId id="2147484664" r:id="rId22"/>
    <p:sldLayoutId id="2147484665" r:id="rId23"/>
    <p:sldLayoutId id="2147484666" r:id="rId24"/>
    <p:sldLayoutId id="2147484667" r:id="rId25"/>
    <p:sldLayoutId id="2147484668" r:id="rId26"/>
    <p:sldLayoutId id="2147484669" r:id="rId27"/>
    <p:sldLayoutId id="2147484670" r:id="rId28"/>
    <p:sldLayoutId id="2147484671" r:id="rId29"/>
    <p:sldLayoutId id="2147484672" r:id="rId30"/>
    <p:sldLayoutId id="2147484673" r:id="rId31"/>
    <p:sldLayoutId id="2147484674" r:id="rId32"/>
    <p:sldLayoutId id="2147484675" r:id="rId33"/>
    <p:sldLayoutId id="2147484676" r:id="rId34"/>
    <p:sldLayoutId id="2147484677" r:id="rId35"/>
    <p:sldLayoutId id="2147484678" r:id="rId36"/>
    <p:sldLayoutId id="2147484679" r:id="rId37"/>
    <p:sldLayoutId id="2147484680" r:id="rId38"/>
    <p:sldLayoutId id="2147484681" r:id="rId39"/>
    <p:sldLayoutId id="2147484682" r:id="rId40"/>
    <p:sldLayoutId id="2147484683" r:id="rId41"/>
    <p:sldLayoutId id="2147484684" r:id="rId42"/>
    <p:sldLayoutId id="2147484685" r:id="rId43"/>
    <p:sldLayoutId id="2147484686" r:id="rId44"/>
    <p:sldLayoutId id="2147484687" r:id="rId45"/>
    <p:sldLayoutId id="2147484688" r:id="rId46"/>
    <p:sldLayoutId id="2147484689" r:id="rId47"/>
    <p:sldLayoutId id="2147484691" r:id="rId48"/>
    <p:sldLayoutId id="2147484692" r:id="rId49"/>
    <p:sldLayoutId id="2147484693" r:id="rId50"/>
    <p:sldLayoutId id="2147484694" r:id="rId51"/>
    <p:sldLayoutId id="2147484695" r:id="rId52"/>
    <p:sldLayoutId id="2147484713" r:id="rId53"/>
    <p:sldLayoutId id="2147484715" r:id="rId54"/>
    <p:sldLayoutId id="2147484716" r:id="rId55"/>
    <p:sldLayoutId id="2147484721" r:id="rId56"/>
    <p:sldLayoutId id="2147484723" r:id="rId57"/>
    <p:sldLayoutId id="2147484726" r:id="rId58"/>
    <p:sldLayoutId id="2147484728" r:id="rId59"/>
    <p:sldLayoutId id="2147484730" r:id="rId60"/>
    <p:sldLayoutId id="2147484734" r:id="rId61"/>
  </p:sldLayoutIdLst>
  <p:hf hdr="0" dt="0"/>
  <p:txStyles>
    <p:titleStyle>
      <a:lvl1pPr algn="l" defTabSz="812650" rtl="0" eaLnBrk="1" latinLnBrk="0" hangingPunct="1">
        <a:lnSpc>
          <a:spcPct val="89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2650" rtl="0" eaLnBrk="1" latinLnBrk="0" hangingPunct="1"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defTabSz="812650" rtl="0" eaLnBrk="1" latinLnBrk="0" hangingPunct="1">
        <a:spcBef>
          <a:spcPts val="0"/>
        </a:spcBef>
        <a:spcAft>
          <a:spcPts val="600"/>
        </a:spcAft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6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30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79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6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2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59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85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2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5040">
          <p15:clr>
            <a:srgbClr val="F26B43"/>
          </p15:clr>
        </p15:guide>
        <p15:guide id="5" pos="9728">
          <p15:clr>
            <a:srgbClr val="F26B43"/>
          </p15:clr>
        </p15:guide>
        <p15:guide id="6" pos="512">
          <p15:clr>
            <a:srgbClr val="F26B43"/>
          </p15:clr>
        </p15:guide>
        <p15:guide id="7" orient="horz" pos="936">
          <p15:clr>
            <a:srgbClr val="F26B43"/>
          </p15:clr>
        </p15:guide>
        <p15:guide id="8" orient="horz" pos="11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82DEFB-0E5C-F0FE-D9E3-E3EB766F38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543129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01" imgH="502" progId="TCLayout.ActiveDocument.1">
                  <p:embed/>
                </p:oleObj>
              </mc:Choice>
              <mc:Fallback>
                <p:oleObj name="think-cell Slide" r:id="rId44" imgW="501" imgH="50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82DEFB-0E5C-F0FE-D9E3-E3EB766F3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8147D09-81D3-46F2-A95A-BF23D4C7F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290615"/>
            <a:ext cx="14629384" cy="12029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DE6099-BB5A-408B-A955-71BEE07EB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5848" y="2057400"/>
            <a:ext cx="14630400" cy="594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162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9" r:id="rId1"/>
    <p:sldLayoutId id="2147484800" r:id="rId2"/>
    <p:sldLayoutId id="2147484801" r:id="rId3"/>
    <p:sldLayoutId id="2147484802" r:id="rId4"/>
    <p:sldLayoutId id="2147484803" r:id="rId5"/>
    <p:sldLayoutId id="2147484804" r:id="rId6"/>
    <p:sldLayoutId id="2147484805" r:id="rId7"/>
    <p:sldLayoutId id="2147484806" r:id="rId8"/>
    <p:sldLayoutId id="2147484807" r:id="rId9"/>
    <p:sldLayoutId id="2147484808" r:id="rId10"/>
    <p:sldLayoutId id="2147484809" r:id="rId11"/>
    <p:sldLayoutId id="2147484810" r:id="rId12"/>
    <p:sldLayoutId id="2147484811" r:id="rId13"/>
    <p:sldLayoutId id="2147484812" r:id="rId14"/>
    <p:sldLayoutId id="2147484813" r:id="rId15"/>
    <p:sldLayoutId id="2147484814" r:id="rId16"/>
    <p:sldLayoutId id="2147484815" r:id="rId17"/>
    <p:sldLayoutId id="2147484816" r:id="rId18"/>
    <p:sldLayoutId id="2147484817" r:id="rId19"/>
    <p:sldLayoutId id="2147484818" r:id="rId20"/>
    <p:sldLayoutId id="2147484819" r:id="rId21"/>
    <p:sldLayoutId id="2147484820" r:id="rId22"/>
    <p:sldLayoutId id="2147484821" r:id="rId23"/>
    <p:sldLayoutId id="2147484822" r:id="rId24"/>
    <p:sldLayoutId id="2147484823" r:id="rId25"/>
    <p:sldLayoutId id="2147484824" r:id="rId26"/>
    <p:sldLayoutId id="2147484825" r:id="rId27"/>
    <p:sldLayoutId id="2147484826" r:id="rId28"/>
    <p:sldLayoutId id="2147484827" r:id="rId29"/>
    <p:sldLayoutId id="2147484828" r:id="rId30"/>
    <p:sldLayoutId id="2147484829" r:id="rId31"/>
    <p:sldLayoutId id="2147484830" r:id="rId32"/>
    <p:sldLayoutId id="2147484831" r:id="rId33"/>
    <p:sldLayoutId id="2147484832" r:id="rId34"/>
    <p:sldLayoutId id="2147484833" r:id="rId35"/>
    <p:sldLayoutId id="2147484834" r:id="rId36"/>
    <p:sldLayoutId id="2147484835" r:id="rId37"/>
    <p:sldLayoutId id="2147484836" r:id="rId38"/>
    <p:sldLayoutId id="2147484837" r:id="rId39"/>
    <p:sldLayoutId id="2147484838" r:id="rId40"/>
    <p:sldLayoutId id="2147484839" r:id="rId41"/>
  </p:sldLayoutIdLst>
  <p:hf hdr="0" dt="0"/>
  <p:txStyles>
    <p:titleStyle>
      <a:lvl1pPr algn="l" defTabSz="812650" rtl="0" eaLnBrk="1" latinLnBrk="0" hangingPunct="1">
        <a:lnSpc>
          <a:spcPct val="89000"/>
        </a:lnSpc>
        <a:spcBef>
          <a:spcPct val="0"/>
        </a:spcBef>
        <a:buNone/>
        <a:defRPr sz="4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12650" rtl="0" eaLnBrk="1" latinLnBrk="0" hangingPunct="1"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4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27432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64008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005840" indent="-228600" algn="l" defTabSz="812650" rtl="0" eaLnBrk="1" latinLnBrk="0" hangingPunct="1">
        <a:spcBef>
          <a:spcPts val="0"/>
        </a:spcBef>
        <a:spcAft>
          <a:spcPts val="600"/>
        </a:spcAft>
        <a:buFont typeface="Courier New" panose="02070309020205020404" pitchFamily="49" charset="0"/>
        <a:buChar char="o"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4pPr>
      <a:lvl5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Char char="​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6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30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79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6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2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59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85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2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3" orient="horz" pos="5040">
          <p15:clr>
            <a:srgbClr val="F26B43"/>
          </p15:clr>
        </p15:guide>
        <p15:guide id="5" pos="9728">
          <p15:clr>
            <a:srgbClr val="F26B43"/>
          </p15:clr>
        </p15:guide>
        <p15:guide id="6" pos="512">
          <p15:clr>
            <a:srgbClr val="F26B43"/>
          </p15:clr>
        </p15:guide>
        <p15:guide id="7" orient="horz" pos="12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8147D09-81D3-46F2-A95A-BF23D4C7F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29384" cy="54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E2FE400-1053-BBD0-001F-0C04C860BC41}"/>
              </a:ext>
            </a:extLst>
          </p:cNvPr>
          <p:cNvPicPr>
            <a:picLocks noChangeAspect="1"/>
          </p:cNvPicPr>
          <p:nvPr userDrawn="1"/>
        </p:nvPicPr>
        <p:blipFill>
          <a:blip r:embed="rId5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B86D2F2-A5CD-0754-A40D-5949BD583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2800" y="8376537"/>
            <a:ext cx="356124" cy="27432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79731-2882-4D80-9BED-4696CF6F22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D1703A-CC22-3745-6C2A-6C1CCABE3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9554" y="8376538"/>
            <a:ext cx="103485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776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1" r:id="rId1"/>
    <p:sldLayoutId id="2147484842" r:id="rId2"/>
    <p:sldLayoutId id="2147484843" r:id="rId3"/>
    <p:sldLayoutId id="2147484844" r:id="rId4"/>
    <p:sldLayoutId id="2147484845" r:id="rId5"/>
    <p:sldLayoutId id="2147484846" r:id="rId6"/>
    <p:sldLayoutId id="2147484847" r:id="rId7"/>
    <p:sldLayoutId id="2147484848" r:id="rId8"/>
    <p:sldLayoutId id="2147484849" r:id="rId9"/>
    <p:sldLayoutId id="2147484850" r:id="rId10"/>
    <p:sldLayoutId id="2147484851" r:id="rId11"/>
    <p:sldLayoutId id="2147484852" r:id="rId12"/>
    <p:sldLayoutId id="2147484853" r:id="rId13"/>
    <p:sldLayoutId id="2147484854" r:id="rId14"/>
    <p:sldLayoutId id="2147484855" r:id="rId15"/>
    <p:sldLayoutId id="2147484856" r:id="rId16"/>
    <p:sldLayoutId id="2147484857" r:id="rId17"/>
    <p:sldLayoutId id="2147484858" r:id="rId18"/>
    <p:sldLayoutId id="2147484859" r:id="rId19"/>
    <p:sldLayoutId id="2147484860" r:id="rId20"/>
    <p:sldLayoutId id="2147484861" r:id="rId21"/>
    <p:sldLayoutId id="2147484862" r:id="rId22"/>
    <p:sldLayoutId id="2147484863" r:id="rId23"/>
    <p:sldLayoutId id="2147484864" r:id="rId24"/>
    <p:sldLayoutId id="2147484865" r:id="rId25"/>
    <p:sldLayoutId id="2147484866" r:id="rId26"/>
    <p:sldLayoutId id="2147484867" r:id="rId27"/>
    <p:sldLayoutId id="2147484868" r:id="rId28"/>
    <p:sldLayoutId id="2147484869" r:id="rId29"/>
    <p:sldLayoutId id="2147484870" r:id="rId30"/>
    <p:sldLayoutId id="2147484871" r:id="rId31"/>
    <p:sldLayoutId id="2147484872" r:id="rId32"/>
    <p:sldLayoutId id="2147484873" r:id="rId33"/>
    <p:sldLayoutId id="2147484874" r:id="rId34"/>
    <p:sldLayoutId id="2147484875" r:id="rId35"/>
    <p:sldLayoutId id="2147484876" r:id="rId36"/>
    <p:sldLayoutId id="2147484877" r:id="rId37"/>
    <p:sldLayoutId id="2147484878" r:id="rId38"/>
    <p:sldLayoutId id="2147484879" r:id="rId39"/>
    <p:sldLayoutId id="2147484880" r:id="rId40"/>
    <p:sldLayoutId id="2147484881" r:id="rId41"/>
    <p:sldLayoutId id="2147484882" r:id="rId42"/>
    <p:sldLayoutId id="2147484883" r:id="rId43"/>
    <p:sldLayoutId id="2147484884" r:id="rId44"/>
    <p:sldLayoutId id="2147484885" r:id="rId45"/>
    <p:sldLayoutId id="2147484886" r:id="rId46"/>
    <p:sldLayoutId id="2147484887" r:id="rId47"/>
    <p:sldLayoutId id="2147484888" r:id="rId48"/>
    <p:sldLayoutId id="2147484889" r:id="rId49"/>
    <p:sldLayoutId id="2147484890" r:id="rId50"/>
    <p:sldLayoutId id="2147484891" r:id="rId51"/>
  </p:sldLayoutIdLst>
  <p:hf hdr="0" ftr="0" dt="0"/>
  <p:txStyles>
    <p:titleStyle>
      <a:lvl1pPr algn="l" defTabSz="812650" rtl="0" eaLnBrk="1" latinLnBrk="0" hangingPunct="1">
        <a:lnSpc>
          <a:spcPct val="89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2650" rtl="0" eaLnBrk="1" latinLnBrk="0" hangingPunct="1"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228600" algn="l" defTabSz="81265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defTabSz="812650" rtl="0" eaLnBrk="1" latinLnBrk="0" hangingPunct="1">
        <a:spcBef>
          <a:spcPts val="0"/>
        </a:spcBef>
        <a:spcAft>
          <a:spcPts val="600"/>
        </a:spcAft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12650" rtl="0" eaLnBrk="1" latinLnBrk="0" hangingPunct="1"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6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30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7950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6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2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59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855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202" algn="l" defTabSz="81265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5040">
          <p15:clr>
            <a:srgbClr val="F26B43"/>
          </p15:clr>
        </p15:guide>
        <p15:guide id="5" pos="9728">
          <p15:clr>
            <a:srgbClr val="F26B43"/>
          </p15:clr>
        </p15:guide>
        <p15:guide id="6" pos="512">
          <p15:clr>
            <a:srgbClr val="F26B43"/>
          </p15:clr>
        </p15:guide>
        <p15:guide id="7" orient="horz" pos="936">
          <p15:clr>
            <a:srgbClr val="F26B43"/>
          </p15:clr>
        </p15:guide>
        <p15:guide id="8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42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6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1.png"/><Relationship Id="rId18" Type="http://schemas.openxmlformats.org/officeDocument/2006/relationships/image" Target="../media/image7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svg"/><Relationship Id="rId17" Type="http://schemas.openxmlformats.org/officeDocument/2006/relationships/image" Target="../media/image7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4.sv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64.sv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svg"/><Relationship Id="rId4" Type="http://schemas.openxmlformats.org/officeDocument/2006/relationships/image" Target="../media/image62.svg"/><Relationship Id="rId9" Type="http://schemas.openxmlformats.org/officeDocument/2006/relationships/image" Target="../media/image67.png"/><Relationship Id="rId14" Type="http://schemas.openxmlformats.org/officeDocument/2006/relationships/image" Target="../media/image7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svg"/><Relationship Id="rId13" Type="http://schemas.openxmlformats.org/officeDocument/2006/relationships/image" Target="../media/image69.png"/><Relationship Id="rId18" Type="http://schemas.openxmlformats.org/officeDocument/2006/relationships/image" Target="../media/image88.svg"/><Relationship Id="rId3" Type="http://schemas.openxmlformats.org/officeDocument/2006/relationships/image" Target="../media/image77.png"/><Relationship Id="rId21" Type="http://schemas.openxmlformats.org/officeDocument/2006/relationships/image" Target="../media/image91.png"/><Relationship Id="rId7" Type="http://schemas.openxmlformats.org/officeDocument/2006/relationships/image" Target="../media/image81.png"/><Relationship Id="rId12" Type="http://schemas.openxmlformats.org/officeDocument/2006/relationships/image" Target="../media/image68.svg"/><Relationship Id="rId17" Type="http://schemas.openxmlformats.org/officeDocument/2006/relationships/image" Target="../media/image8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6.svg"/><Relationship Id="rId20" Type="http://schemas.openxmlformats.org/officeDocument/2006/relationships/image" Target="../media/image90.sv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80.svg"/><Relationship Id="rId11" Type="http://schemas.openxmlformats.org/officeDocument/2006/relationships/image" Target="../media/image67.png"/><Relationship Id="rId5" Type="http://schemas.openxmlformats.org/officeDocument/2006/relationships/image" Target="../media/image79.png"/><Relationship Id="rId15" Type="http://schemas.openxmlformats.org/officeDocument/2006/relationships/image" Target="../media/image71.png"/><Relationship Id="rId10" Type="http://schemas.openxmlformats.org/officeDocument/2006/relationships/image" Target="../media/image84.svg"/><Relationship Id="rId19" Type="http://schemas.openxmlformats.org/officeDocument/2006/relationships/image" Target="../media/image89.png"/><Relationship Id="rId4" Type="http://schemas.openxmlformats.org/officeDocument/2006/relationships/image" Target="../media/image78.svg"/><Relationship Id="rId9" Type="http://schemas.openxmlformats.org/officeDocument/2006/relationships/image" Target="../media/image83.png"/><Relationship Id="rId14" Type="http://schemas.openxmlformats.org/officeDocument/2006/relationships/image" Target="../media/image85.svg"/><Relationship Id="rId22" Type="http://schemas.openxmlformats.org/officeDocument/2006/relationships/image" Target="../media/image9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13" Type="http://schemas.openxmlformats.org/officeDocument/2006/relationships/image" Target="../media/image103.png"/><Relationship Id="rId18" Type="http://schemas.openxmlformats.org/officeDocument/2006/relationships/image" Target="../media/image108.svg"/><Relationship Id="rId3" Type="http://schemas.openxmlformats.org/officeDocument/2006/relationships/image" Target="../media/image93.png"/><Relationship Id="rId21" Type="http://schemas.openxmlformats.org/officeDocument/2006/relationships/image" Target="../media/image111.png"/><Relationship Id="rId7" Type="http://schemas.openxmlformats.org/officeDocument/2006/relationships/image" Target="../media/image97.png"/><Relationship Id="rId12" Type="http://schemas.openxmlformats.org/officeDocument/2006/relationships/image" Target="../media/image102.svg"/><Relationship Id="rId17" Type="http://schemas.openxmlformats.org/officeDocument/2006/relationships/image" Target="../media/image10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06.svg"/><Relationship Id="rId20" Type="http://schemas.openxmlformats.org/officeDocument/2006/relationships/image" Target="../media/image110.sv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96.svg"/><Relationship Id="rId11" Type="http://schemas.openxmlformats.org/officeDocument/2006/relationships/image" Target="../media/image101.png"/><Relationship Id="rId5" Type="http://schemas.openxmlformats.org/officeDocument/2006/relationships/image" Target="../media/image95.png"/><Relationship Id="rId15" Type="http://schemas.openxmlformats.org/officeDocument/2006/relationships/image" Target="../media/image105.png"/><Relationship Id="rId23" Type="http://schemas.openxmlformats.org/officeDocument/2006/relationships/image" Target="../media/image113.svg"/><Relationship Id="rId10" Type="http://schemas.openxmlformats.org/officeDocument/2006/relationships/image" Target="../media/image100.svg"/><Relationship Id="rId19" Type="http://schemas.openxmlformats.org/officeDocument/2006/relationships/image" Target="../media/image109.png"/><Relationship Id="rId4" Type="http://schemas.openxmlformats.org/officeDocument/2006/relationships/image" Target="../media/image94.svg"/><Relationship Id="rId9" Type="http://schemas.openxmlformats.org/officeDocument/2006/relationships/image" Target="../media/image99.png"/><Relationship Id="rId14" Type="http://schemas.openxmlformats.org/officeDocument/2006/relationships/image" Target="../media/image104.svg"/><Relationship Id="rId22" Type="http://schemas.openxmlformats.org/officeDocument/2006/relationships/image" Target="../media/image1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.png"/><Relationship Id="rId3" Type="http://schemas.openxmlformats.org/officeDocument/2006/relationships/image" Target="../media/image114.png"/><Relationship Id="rId7" Type="http://schemas.openxmlformats.org/officeDocument/2006/relationships/image" Target="../media/image55.png"/><Relationship Id="rId12" Type="http://schemas.openxmlformats.org/officeDocument/2006/relationships/image" Target="../media/image12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22.svg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53.png"/><Relationship Id="rId11" Type="http://schemas.openxmlformats.org/officeDocument/2006/relationships/image" Target="../media/image119.svg"/><Relationship Id="rId5" Type="http://schemas.openxmlformats.org/officeDocument/2006/relationships/image" Target="../media/image115.svg"/><Relationship Id="rId15" Type="http://schemas.openxmlformats.org/officeDocument/2006/relationships/image" Target="../media/image121.png"/><Relationship Id="rId10" Type="http://schemas.openxmlformats.org/officeDocument/2006/relationships/image" Target="../media/image118.png"/><Relationship Id="rId4" Type="http://schemas.openxmlformats.org/officeDocument/2006/relationships/image" Target="../media/image51.png"/><Relationship Id="rId9" Type="http://schemas.openxmlformats.org/officeDocument/2006/relationships/image" Target="../media/image117.png"/><Relationship Id="rId14" Type="http://schemas.openxmlformats.org/officeDocument/2006/relationships/image" Target="../media/image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svg"/><Relationship Id="rId13" Type="http://schemas.openxmlformats.org/officeDocument/2006/relationships/image" Target="../media/image13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25.png"/><Relationship Id="rId12" Type="http://schemas.openxmlformats.org/officeDocument/2006/relationships/image" Target="../media/image130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4.png"/><Relationship Id="rId11" Type="http://schemas.openxmlformats.org/officeDocument/2006/relationships/image" Target="../media/image129.png"/><Relationship Id="rId5" Type="http://schemas.openxmlformats.org/officeDocument/2006/relationships/image" Target="../media/image123.png"/><Relationship Id="rId10" Type="http://schemas.openxmlformats.org/officeDocument/2006/relationships/image" Target="../media/image128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27.png"/><Relationship Id="rId14" Type="http://schemas.openxmlformats.org/officeDocument/2006/relationships/image" Target="../media/image1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CAB47AF-A821-750D-153D-F81B2795E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1" y="2743201"/>
            <a:ext cx="5119262" cy="2959174"/>
          </a:xfrm>
        </p:spPr>
        <p:txBody>
          <a:bodyPr>
            <a:noAutofit/>
          </a:bodyPr>
          <a:lstStyle/>
          <a:p>
            <a:r>
              <a:rPr lang="en-IE" sz="4400" dirty="0"/>
              <a:t>Grid-to-Chip Solutions to Power, Cool and Scale AI Data </a:t>
            </a:r>
            <a:r>
              <a:rPr lang="en-IE" sz="4400" dirty="0" err="1"/>
              <a:t>Centers</a:t>
            </a:r>
            <a:endParaRPr lang="en-US" sz="4400" dirty="0">
              <a:solidFill>
                <a:schemeClr val="lt1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200A093-F8B2-91C0-C360-B72982275F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E" b="1" dirty="0"/>
              <a:t>Graciano Beyhaut</a:t>
            </a:r>
          </a:p>
          <a:p>
            <a:r>
              <a:rPr lang="en-IE" dirty="0"/>
              <a:t>VP and GM, Critical Power Business </a:t>
            </a:r>
          </a:p>
        </p:txBody>
      </p:sp>
      <p:pic>
        <p:nvPicPr>
          <p:cNvPr id="1026" name="Picture 2" descr="Anord Mardix - ByteBridge">
            <a:extLst>
              <a:ext uri="{FF2B5EF4-FFF2-40B4-BE49-F238E27FC236}">
                <a16:creationId xmlns:a16="http://schemas.microsoft.com/office/drawing/2014/main" id="{9F297CFA-C635-FF25-CD40-B689F6A22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5186" y="1566530"/>
            <a:ext cx="2014688" cy="66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74658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generated image of a building&#10;&#10;AI-generated content may be incorrect.">
            <a:extLst>
              <a:ext uri="{FF2B5EF4-FFF2-40B4-BE49-F238E27FC236}">
                <a16:creationId xmlns:a16="http://schemas.microsoft.com/office/drawing/2014/main" id="{96F0732A-3B82-7D6C-E256-4883132988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pic>
        <p:nvPicPr>
          <p:cNvPr id="8" name="Picture 7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B86A3FB8-7551-5D46-D804-C2E9068DEF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pic>
        <p:nvPicPr>
          <p:cNvPr id="10" name="Picture 9" descr="A green line with white text&#10;&#10;AI-generated content may be incorrect.">
            <a:extLst>
              <a:ext uri="{FF2B5EF4-FFF2-40B4-BE49-F238E27FC236}">
                <a16:creationId xmlns:a16="http://schemas.microsoft.com/office/drawing/2014/main" id="{0EDC6D17-D493-7B22-20F6-CC86C63E54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pic>
        <p:nvPicPr>
          <p:cNvPr id="12" name="Picture 11" descr="A black background with a blue and white object&#10;&#10;AI-generated content may be incorrect.">
            <a:extLst>
              <a:ext uri="{FF2B5EF4-FFF2-40B4-BE49-F238E27FC236}">
                <a16:creationId xmlns:a16="http://schemas.microsoft.com/office/drawing/2014/main" id="{B2E94704-9B80-A4AA-AD18-29A33340B0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pic>
        <p:nvPicPr>
          <p:cNvPr id="14" name="Picture 13" descr="A black screen with a black background&#10;&#10;AI-generated content may be incorrect.">
            <a:extLst>
              <a:ext uri="{FF2B5EF4-FFF2-40B4-BE49-F238E27FC236}">
                <a16:creationId xmlns:a16="http://schemas.microsoft.com/office/drawing/2014/main" id="{B8BFF9DF-2744-C82F-AC06-FA85382C5E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pic>
        <p:nvPicPr>
          <p:cNvPr id="16" name="Picture 15" descr="A blue and white line on a black background&#10;&#10;AI-generated content may be incorrect.">
            <a:extLst>
              <a:ext uri="{FF2B5EF4-FFF2-40B4-BE49-F238E27FC236}">
                <a16:creationId xmlns:a16="http://schemas.microsoft.com/office/drawing/2014/main" id="{563BDA04-E99F-D53E-F303-5F3A9DD873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6255999" cy="914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CA094D-2265-58DC-ED10-01B16B3B6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Harness Flex’s end-to-end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portfolio of </a:t>
            </a:r>
            <a:r>
              <a:rPr lang="en-US">
                <a:solidFill>
                  <a:schemeClr val="accent2"/>
                </a:solidFill>
              </a:rPr>
              <a:t>data center</a:t>
            </a:r>
            <a:br>
              <a:rPr lang="en-US">
                <a:solidFill>
                  <a:schemeClr val="accent2"/>
                </a:solidFill>
              </a:rPr>
            </a:br>
            <a:r>
              <a:rPr lang="en-US">
                <a:solidFill>
                  <a:schemeClr val="accent2"/>
                </a:solidFill>
              </a:rPr>
              <a:t>products and servi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D46B02-EFEB-740D-F8CD-F7560628A5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2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1971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E68E9-22B8-60C0-F981-931E91470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room with rows of server racks&#10;&#10;AI-generated content may be incorrect.">
            <a:extLst>
              <a:ext uri="{FF2B5EF4-FFF2-40B4-BE49-F238E27FC236}">
                <a16:creationId xmlns:a16="http://schemas.microsoft.com/office/drawing/2014/main" id="{28825FF9-18D0-6125-FA9D-AE15A25C730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9721" y="1850597"/>
            <a:ext cx="4661420" cy="6172198"/>
          </a:xfrm>
          <a:prstGeom prst="rect">
            <a:avLst/>
          </a:prstGeom>
        </p:spPr>
      </p:pic>
      <p:pic>
        <p:nvPicPr>
          <p:cNvPr id="24" name="Picture 23" descr="A close-up of a machine&#10;&#10;AI-generated content may be incorrect.">
            <a:extLst>
              <a:ext uri="{FF2B5EF4-FFF2-40B4-BE49-F238E27FC236}">
                <a16:creationId xmlns:a16="http://schemas.microsoft.com/office/drawing/2014/main" id="{73F2B258-852B-949C-EBBF-009DA7C546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7290" y="1850597"/>
            <a:ext cx="4661420" cy="61722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6FF73A-EB9F-D873-6A6A-636015F2D2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08B036-C9B2-06BF-C1BB-03CE6EFBC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 era data center growth challe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EB352E-B7F7-C7AA-45E6-7083547210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sz="2800"/>
              <a:t>Data center </a:t>
            </a:r>
            <a:r>
              <a:rPr lang="en-US"/>
              <a:t>p</a:t>
            </a:r>
            <a:r>
              <a:rPr lang="en-US" sz="2800"/>
              <a:t>ower </a:t>
            </a:r>
            <a:r>
              <a:rPr lang="en-US"/>
              <a:t>h</a:t>
            </a:r>
            <a:r>
              <a:rPr lang="en-US" sz="2800"/>
              <a:t>eat and scale </a:t>
            </a:r>
            <a:r>
              <a:rPr lang="en-US"/>
              <a:t>c</a:t>
            </a:r>
            <a:r>
              <a:rPr lang="en-US" sz="2800"/>
              <a:t>hallenges </a:t>
            </a:r>
            <a:r>
              <a:rPr lang="en-US"/>
              <a:t>d</a:t>
            </a:r>
            <a:r>
              <a:rPr lang="en-US" sz="2800"/>
              <a:t>emand innov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B13EFB-C61B-907C-6CD7-C17124FEA2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2227" y="1850597"/>
            <a:ext cx="4663480" cy="61722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846847-7444-C07F-38FE-B3A332A68FBC}"/>
              </a:ext>
            </a:extLst>
          </p:cNvPr>
          <p:cNvSpPr/>
          <p:nvPr/>
        </p:nvSpPr>
        <p:spPr>
          <a:xfrm>
            <a:off x="822227" y="5348420"/>
            <a:ext cx="4389120" cy="245080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4320" tIns="274320" rIns="182880" bIns="274320" rtlCol="0" anchor="t"/>
          <a:lstStyle/>
          <a:p>
            <a:pPr>
              <a:spcAft>
                <a:spcPts val="1200"/>
              </a:spcAft>
            </a:pPr>
            <a:r>
              <a:rPr lang="en-US" sz="1600">
                <a:solidFill>
                  <a:schemeClr val="accent2"/>
                </a:solidFill>
              </a:rPr>
              <a:t>NEW POWER REQUIREMENTS</a:t>
            </a:r>
          </a:p>
          <a:p>
            <a:r>
              <a:rPr lang="en-US" sz="2400" b="1">
                <a:solidFill>
                  <a:schemeClr val="tx1"/>
                </a:solidFill>
              </a:rPr>
              <a:t>Foundational gap in power infrastruct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C83F17-80D7-23F7-14EB-A306F09AC0E2}"/>
              </a:ext>
            </a:extLst>
          </p:cNvPr>
          <p:cNvSpPr/>
          <p:nvPr/>
        </p:nvSpPr>
        <p:spPr>
          <a:xfrm>
            <a:off x="10759721" y="5341804"/>
            <a:ext cx="4389120" cy="245080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4320" tIns="274320" rIns="182880" bIns="274320" rtlCol="0" anchor="t"/>
          <a:lstStyle/>
          <a:p>
            <a:pPr>
              <a:spcAft>
                <a:spcPts val="1200"/>
              </a:spcAft>
            </a:pPr>
            <a:r>
              <a:rPr lang="en-US" sz="1600">
                <a:solidFill>
                  <a:schemeClr val="accent2"/>
                </a:solidFill>
              </a:rPr>
              <a:t>CONSTRAINED BY LACK OF SCALE</a:t>
            </a:r>
          </a:p>
          <a:p>
            <a:r>
              <a:rPr lang="en-US" sz="2400" b="1">
                <a:solidFill>
                  <a:schemeClr val="tx1"/>
                </a:solidFill>
              </a:rPr>
              <a:t>Thwarted innovation and access to essential techn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6D3788-F1B2-23EE-5850-B95DF7AAF3E0}"/>
              </a:ext>
            </a:extLst>
          </p:cNvPr>
          <p:cNvSpPr/>
          <p:nvPr/>
        </p:nvSpPr>
        <p:spPr>
          <a:xfrm>
            <a:off x="5797290" y="5341804"/>
            <a:ext cx="4389120" cy="245080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4320" tIns="274320" rIns="182880" bIns="274320" rtlCol="0" anchor="t"/>
          <a:lstStyle/>
          <a:p>
            <a:pPr>
              <a:spcAft>
                <a:spcPts val="1200"/>
              </a:spcAft>
            </a:pPr>
            <a:r>
              <a:rPr lang="en-US" sz="1600">
                <a:solidFill>
                  <a:schemeClr val="accent2"/>
                </a:solidFill>
              </a:rPr>
              <a:t>GROWING HEAT DENSITY</a:t>
            </a:r>
          </a:p>
          <a:p>
            <a:r>
              <a:rPr lang="en-US" sz="2400" b="1">
                <a:solidFill>
                  <a:schemeClr val="tx1"/>
                </a:solidFill>
              </a:rPr>
              <a:t>Compute densities driving shift to liquid cooling</a:t>
            </a:r>
          </a:p>
          <a:p>
            <a:endParaRPr lang="en-US" sz="2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623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8A4E597-A27F-7ACC-9507-D12116329F4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388"/>
          <a:stretch/>
        </p:blipFill>
        <p:spPr>
          <a:xfrm>
            <a:off x="165" y="1572"/>
            <a:ext cx="16255835" cy="914242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72BA2FE-13A3-A93C-AE0E-A8EA24B5FC8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91" t="17000" r="32721" b="33315"/>
          <a:stretch/>
        </p:blipFill>
        <p:spPr>
          <a:xfrm>
            <a:off x="11480691" y="3050053"/>
            <a:ext cx="1109258" cy="183559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21AF7B-330D-0959-9343-F720BB415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12800" y="8376537"/>
            <a:ext cx="356124" cy="274320"/>
          </a:xfrm>
        </p:spPr>
        <p:txBody>
          <a:bodyPr/>
          <a:lstStyle/>
          <a:p>
            <a:fld id="{9ED79731-2882-4D80-9BED-4696CF6F225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D2F23A-CBC7-7B51-3BE8-99BCA3D24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US"/>
              <a:t>Next-gen infrastructure is driven by close collabor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8AD2A9-7713-C1BD-0963-754168AC32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227" y="1126499"/>
            <a:ext cx="14630400" cy="411480"/>
          </a:xfrm>
        </p:spPr>
        <p:txBody>
          <a:bodyPr/>
          <a:lstStyle/>
          <a:p>
            <a:r>
              <a:rPr lang="en-US"/>
              <a:t>Power, cooling, and IT integration is essential in the AI era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CC93CC1-D8CB-DE37-15E9-9C5C4AB47E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64291" y="2470691"/>
            <a:ext cx="1241331" cy="385119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1C9E58D-1DBD-048A-7915-065E563122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960" y="2470691"/>
            <a:ext cx="1241331" cy="385119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57F42C3F-13B7-EAA4-FDE0-C1E2A5F224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46953" y="2470691"/>
            <a:ext cx="1241331" cy="385119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5C2D91F-C5B9-0F46-DBCE-F7048F4685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5622" y="2470691"/>
            <a:ext cx="1241331" cy="385119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56696CD-B7BD-3C33-7CEE-A439D3C9A4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0000"/>
          <a:stretch>
            <a:fillRect/>
          </a:stretch>
        </p:blipFill>
        <p:spPr>
          <a:xfrm>
            <a:off x="7029615" y="2470691"/>
            <a:ext cx="620666" cy="3851196"/>
          </a:xfrm>
          <a:custGeom>
            <a:avLst/>
            <a:gdLst>
              <a:gd name="connsiteX0" fmla="*/ 0 w 620666"/>
              <a:gd name="connsiteY0" fmla="*/ 0 h 3851196"/>
              <a:gd name="connsiteX1" fmla="*/ 620666 w 620666"/>
              <a:gd name="connsiteY1" fmla="*/ 1925599 h 3851196"/>
              <a:gd name="connsiteX2" fmla="*/ 1 w 620666"/>
              <a:gd name="connsiteY2" fmla="*/ 3851196 h 3851196"/>
              <a:gd name="connsiteX3" fmla="*/ 0 w 620666"/>
              <a:gd name="connsiteY3" fmla="*/ 3851196 h 385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0666" h="3851196">
                <a:moveTo>
                  <a:pt x="0" y="0"/>
                </a:moveTo>
                <a:lnTo>
                  <a:pt x="620666" y="1925599"/>
                </a:lnTo>
                <a:lnTo>
                  <a:pt x="1" y="3851196"/>
                </a:lnTo>
                <a:lnTo>
                  <a:pt x="0" y="3851196"/>
                </a:lnTo>
                <a:close/>
              </a:path>
            </a:pathLst>
          </a:cu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5F4045B-4B5C-ADBC-C2B6-C4634CA2BA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88284" y="2470691"/>
            <a:ext cx="1241331" cy="385119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C5AE6E77-AFB9-FF09-DD9D-CA494A76E0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3704"/>
          <a:stretch/>
        </p:blipFill>
        <p:spPr>
          <a:xfrm>
            <a:off x="0" y="2470691"/>
            <a:ext cx="822960" cy="385119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B84865C-911A-21A4-DFA6-8A044A608FFC}"/>
              </a:ext>
            </a:extLst>
          </p:cNvPr>
          <p:cNvSpPr/>
          <p:nvPr/>
        </p:nvSpPr>
        <p:spPr>
          <a:xfrm>
            <a:off x="3270922" y="5188391"/>
            <a:ext cx="3581268" cy="7386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L="1350963" marR="0" lvl="0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T Comput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1DA6F8-8FDA-7F98-71E0-89CA2B7BE5A5}"/>
              </a:ext>
            </a:extLst>
          </p:cNvPr>
          <p:cNvSpPr/>
          <p:nvPr/>
        </p:nvSpPr>
        <p:spPr>
          <a:xfrm>
            <a:off x="3270922" y="2870765"/>
            <a:ext cx="3581268" cy="7386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L="1350963" marR="0" lvl="0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ower Deliver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C83A63-E7A8-C896-D242-8A80BD31E73E}"/>
              </a:ext>
            </a:extLst>
          </p:cNvPr>
          <p:cNvSpPr/>
          <p:nvPr/>
        </p:nvSpPr>
        <p:spPr>
          <a:xfrm>
            <a:off x="3270922" y="4030154"/>
            <a:ext cx="3581269" cy="7386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L="1350963" marR="0" lvl="0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oling System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6DBB84-AD6B-C340-A320-5A0BCB138B65}"/>
              </a:ext>
            </a:extLst>
          </p:cNvPr>
          <p:cNvSpPr txBox="1"/>
          <p:nvPr/>
        </p:nvSpPr>
        <p:spPr>
          <a:xfrm>
            <a:off x="692602" y="3488348"/>
            <a:ext cx="2490877" cy="1815882"/>
          </a:xfrm>
          <a:prstGeom prst="rect">
            <a:avLst/>
          </a:prstGeom>
          <a:gradFill flip="none" rotWithShape="1">
            <a:gsLst>
              <a:gs pos="100000">
                <a:srgbClr val="DFDEDE">
                  <a:alpha val="0"/>
                </a:srgbClr>
              </a:gs>
              <a:gs pos="40000">
                <a:srgbClr val="DFDEDE">
                  <a:alpha val="9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anchor="ctr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alls and silos limit collaboration and growt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34D3B0-2026-D622-C3EB-708C1A4F46C3}"/>
              </a:ext>
            </a:extLst>
          </p:cNvPr>
          <p:cNvSpPr/>
          <p:nvPr/>
        </p:nvSpPr>
        <p:spPr>
          <a:xfrm>
            <a:off x="689130" y="2470692"/>
            <a:ext cx="1572182" cy="4000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sz="2000">
                <a:solidFill>
                  <a:schemeClr val="lt1"/>
                </a:solidFill>
              </a:rPr>
              <a:t>Today</a:t>
            </a:r>
          </a:p>
        </p:txBody>
      </p:sp>
      <p:pic>
        <p:nvPicPr>
          <p:cNvPr id="50" name="Picture 49" descr="A grey container on a black background&#10;&#10;AI-generated content may be incorrect.">
            <a:extLst>
              <a:ext uri="{FF2B5EF4-FFF2-40B4-BE49-F238E27FC236}">
                <a16:creationId xmlns:a16="http://schemas.microsoft.com/office/drawing/2014/main" id="{6888CB8C-2652-5646-79A0-BD5E7180115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5846" y="2938580"/>
            <a:ext cx="1116407" cy="59244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E0108E88-AB77-6AF0-7BAF-6A9A5304FAF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9875" y="4028179"/>
            <a:ext cx="1160269" cy="80213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2FA2AADA-0F61-41BE-6574-2889A502F98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7408" y="5228453"/>
            <a:ext cx="1160269" cy="650524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F76DF447-BB0A-408E-4738-D7F17ED44417}"/>
              </a:ext>
            </a:extLst>
          </p:cNvPr>
          <p:cNvSpPr/>
          <p:nvPr/>
        </p:nvSpPr>
        <p:spPr>
          <a:xfrm>
            <a:off x="8267521" y="2470692"/>
            <a:ext cx="1572182" cy="400074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sz="2000"/>
              <a:t>Tomorrow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0B955B-C2AB-CEEA-C94B-FBA24F0F04DC}"/>
              </a:ext>
            </a:extLst>
          </p:cNvPr>
          <p:cNvSpPr/>
          <p:nvPr/>
        </p:nvSpPr>
        <p:spPr>
          <a:xfrm>
            <a:off x="11411918" y="3234800"/>
            <a:ext cx="1346348" cy="15152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>
              <a:solidFill>
                <a:schemeClr val="lt1"/>
              </a:solidFill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C8604862-CEAD-EE10-45B0-FC8ADF26EA6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1058" y="1109800"/>
            <a:ext cx="5659300" cy="565930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1D47CED5-5CDD-A1CD-67D4-B1EAF22BC85C}"/>
              </a:ext>
            </a:extLst>
          </p:cNvPr>
          <p:cNvGrpSpPr/>
          <p:nvPr/>
        </p:nvGrpSpPr>
        <p:grpSpPr>
          <a:xfrm>
            <a:off x="10505189" y="2968934"/>
            <a:ext cx="3132189" cy="2725998"/>
            <a:chOff x="9719332" y="2968934"/>
            <a:chExt cx="3132189" cy="2725998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D4353B6-A78E-5AD6-8EB7-B6D12923AE96}"/>
                </a:ext>
              </a:extLst>
            </p:cNvPr>
            <p:cNvGrpSpPr/>
            <p:nvPr/>
          </p:nvGrpSpPr>
          <p:grpSpPr>
            <a:xfrm>
              <a:off x="9719332" y="3553067"/>
              <a:ext cx="3132189" cy="2141865"/>
              <a:chOff x="9514093" y="3553067"/>
              <a:chExt cx="3132189" cy="2141865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681B8A1-D2E5-5E57-23B2-11C344BF7CC1}"/>
                  </a:ext>
                </a:extLst>
              </p:cNvPr>
              <p:cNvSpPr txBox="1"/>
              <p:nvPr/>
            </p:nvSpPr>
            <p:spPr>
              <a:xfrm>
                <a:off x="9514093" y="3553067"/>
                <a:ext cx="1519471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Power </a:t>
                </a:r>
                <a:b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</a:b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Delivery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5A7A7A1-58E1-DBBD-46A2-E477BB9D4971}"/>
                  </a:ext>
                </a:extLst>
              </p:cNvPr>
              <p:cNvSpPr txBox="1"/>
              <p:nvPr/>
            </p:nvSpPr>
            <p:spPr>
              <a:xfrm>
                <a:off x="10420822" y="4987046"/>
                <a:ext cx="1351604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oling Systems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0766460-9FF5-0B1D-2841-FBF7FE184EAA}"/>
                  </a:ext>
                </a:extLst>
              </p:cNvPr>
              <p:cNvSpPr txBox="1"/>
              <p:nvPr/>
            </p:nvSpPr>
            <p:spPr>
              <a:xfrm>
                <a:off x="11299934" y="3562466"/>
                <a:ext cx="134634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en-US" sz="2000" b="1">
                    <a:solidFill>
                      <a:schemeClr val="accent1"/>
                    </a:solidFill>
                  </a:rPr>
                  <a:t>IT </a:t>
                </a:r>
                <a:br>
                  <a:rPr lang="en-US" sz="2000" b="1">
                    <a:solidFill>
                      <a:schemeClr val="accent1"/>
                    </a:solidFill>
                  </a:rPr>
                </a:br>
                <a:r>
                  <a:rPr lang="en-US" sz="2000" b="1">
                    <a:solidFill>
                      <a:schemeClr val="accent1"/>
                    </a:solidFill>
                  </a:rPr>
                  <a:t>Compute</a:t>
                </a:r>
              </a:p>
            </p:txBody>
          </p:sp>
        </p:grpSp>
        <p:pic>
          <p:nvPicPr>
            <p:cNvPr id="53" name="Picture 52" descr="A grey container on a black background&#10;&#10;AI-generated content may be incorrect.">
              <a:extLst>
                <a:ext uri="{FF2B5EF4-FFF2-40B4-BE49-F238E27FC236}">
                  <a16:creationId xmlns:a16="http://schemas.microsoft.com/office/drawing/2014/main" id="{2ED13EDE-080E-74A2-A458-70E61BAF9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8066" y="3000505"/>
              <a:ext cx="1110869" cy="589501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1F40ED62-42D1-7A8A-2025-92F321B06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552108" y="2968934"/>
              <a:ext cx="1160269" cy="650524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6F1D6250-3B0F-9DA3-6BFC-062D9F67A4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00688" y="4299800"/>
              <a:ext cx="1160269" cy="802133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F79944C-B340-D426-64D2-5B710B11CD74}"/>
              </a:ext>
            </a:extLst>
          </p:cNvPr>
          <p:cNvSpPr/>
          <p:nvPr/>
        </p:nvSpPr>
        <p:spPr>
          <a:xfrm>
            <a:off x="14393126" y="7903680"/>
            <a:ext cx="1146432" cy="1146432"/>
          </a:xfrm>
          <a:prstGeom prst="rect">
            <a:avLst/>
          </a:prstGeom>
          <a:gradFill flip="none" rotWithShape="1">
            <a:gsLst>
              <a:gs pos="70000">
                <a:srgbClr val="CDCDCD">
                  <a:alpha val="0"/>
                </a:srgbClr>
              </a:gs>
              <a:gs pos="35000">
                <a:srgbClr val="CDCDCD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2181E0B4-CE95-A3A9-50E2-AC9960A93306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248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F9792486-4651-F4F9-796F-9393109101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52760" y="1828800"/>
            <a:ext cx="1241331" cy="385119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89D0032-112E-1239-0822-E6244F4AA7C8}"/>
              </a:ext>
            </a:extLst>
          </p:cNvPr>
          <p:cNvSpPr/>
          <p:nvPr/>
        </p:nvSpPr>
        <p:spPr>
          <a:xfrm>
            <a:off x="10491537" y="1989221"/>
            <a:ext cx="1631151" cy="6265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25BDB0-DBCF-0F9D-EF76-47D74F069D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60" y="2890137"/>
            <a:ext cx="11017188" cy="5486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A4C321-0000-0966-5DAA-9BABC3E075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79731-2882-4D80-9BED-4696CF6F22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2626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62626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48271D6-C2D1-950D-B171-C48743D41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data center is transform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901FDF-9FBD-8A87-1BA5-C344EE2531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Data halls and electrical rooms are being fundamentally redesign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C8B081-ACD5-1472-4AC7-EFD212BDF6DF}"/>
              </a:ext>
            </a:extLst>
          </p:cNvPr>
          <p:cNvSpPr/>
          <p:nvPr/>
        </p:nvSpPr>
        <p:spPr>
          <a:xfrm>
            <a:off x="8823960" y="1828800"/>
            <a:ext cx="1828800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oda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36368B-4BDC-E260-961C-12637A3E501B}"/>
              </a:ext>
            </a:extLst>
          </p:cNvPr>
          <p:cNvSpPr/>
          <p:nvPr/>
        </p:nvSpPr>
        <p:spPr>
          <a:xfrm>
            <a:off x="11894091" y="1828800"/>
            <a:ext cx="2743200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90000"/>
                    <a:lumOff val="10000"/>
                  </a:scheme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omorro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CD00BE-8072-F45E-D19B-DEBC21B0950F}"/>
              </a:ext>
            </a:extLst>
          </p:cNvPr>
          <p:cNvSpPr/>
          <p:nvPr/>
        </p:nvSpPr>
        <p:spPr>
          <a:xfrm>
            <a:off x="12122690" y="2743200"/>
            <a:ext cx="3755931" cy="1828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marR="0" lvl="0" indent="-28575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llaborative design &amp; engineering</a:t>
            </a:r>
          </a:p>
          <a:p>
            <a:pPr marL="285750" marR="0" lvl="0" indent="-28575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dular, off-site fabrication</a:t>
            </a:r>
          </a:p>
          <a:p>
            <a:pPr marL="285750" marR="0" lvl="0" indent="-28575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pace optimization to boost compute dens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2B0387-ECCE-7597-98A1-D564F71B0A24}"/>
              </a:ext>
            </a:extLst>
          </p:cNvPr>
          <p:cNvSpPr/>
          <p:nvPr/>
        </p:nvSpPr>
        <p:spPr>
          <a:xfrm>
            <a:off x="12055314" y="5679996"/>
            <a:ext cx="3755930" cy="954107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UTCOME</a:t>
            </a: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re capacity delivered within the same or smaller footprint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10E02FEE-454E-D977-D256-DDEDCC5B997F}"/>
              </a:ext>
            </a:extLst>
          </p:cNvPr>
          <p:cNvSpPr/>
          <p:nvPr/>
        </p:nvSpPr>
        <p:spPr>
          <a:xfrm>
            <a:off x="10809027" y="2097802"/>
            <a:ext cx="1031121" cy="409433"/>
          </a:xfrm>
          <a:prstGeom prst="rightArrow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4">
                  <a:lumMod val="90000"/>
                  <a:lumOff val="10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>
              <a:solidFill>
                <a:schemeClr val="lt1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802EF7C-F3FF-9481-54C5-7683645712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184555" y="4408349"/>
            <a:ext cx="2968786" cy="107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2135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904BB04-7B93-DBE6-BA44-8C3FEAB58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Current isolated IT power </a:t>
            </a:r>
            <a:r>
              <a:rPr lang="en-IE" b="0">
                <a:solidFill>
                  <a:schemeClr val="accent2"/>
                </a:solidFill>
              </a:rPr>
              <a:t>[</a:t>
            </a:r>
            <a:r>
              <a:rPr lang="en-IE">
                <a:solidFill>
                  <a:schemeClr val="accent2"/>
                </a:solidFill>
              </a:rPr>
              <a:t> today </a:t>
            </a:r>
            <a:r>
              <a:rPr lang="en-IE" b="0">
                <a:solidFill>
                  <a:schemeClr val="accent2"/>
                </a:solidFill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66DABC-7BAE-EAB9-4BBC-55BA9C679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79731-2882-4D80-9BED-4696CF6F22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2626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62626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F6C78F6-B898-D178-88F4-4C2D4B404D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4408" y="1606219"/>
            <a:ext cx="11671022" cy="7307075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6FBDB90F-74C8-66C9-D41C-C2C0701AD2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77659" y="3957834"/>
            <a:ext cx="5257468" cy="4081247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61C9D69E-24A2-9228-13C8-9F960E84A0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00823" y="4260658"/>
            <a:ext cx="3965028" cy="228600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588FA46F-9182-B731-313D-7178D52A4A9C}"/>
              </a:ext>
            </a:extLst>
          </p:cNvPr>
          <p:cNvGrpSpPr/>
          <p:nvPr/>
        </p:nvGrpSpPr>
        <p:grpSpPr>
          <a:xfrm>
            <a:off x="3004398" y="3349185"/>
            <a:ext cx="3638842" cy="1626421"/>
            <a:chOff x="3004398" y="3349185"/>
            <a:chExt cx="3638842" cy="162642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27D8D00-85E8-F0D6-01B7-AD8F61A2AF7D}"/>
                </a:ext>
              </a:extLst>
            </p:cNvPr>
            <p:cNvSpPr txBox="1"/>
            <p:nvPr/>
          </p:nvSpPr>
          <p:spPr>
            <a:xfrm>
              <a:off x="3242536" y="3599122"/>
              <a:ext cx="166204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V Switch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156F2E7-E6F9-2614-5549-A612C0D435E0}"/>
                </a:ext>
              </a:extLst>
            </p:cNvPr>
            <p:cNvSpPr txBox="1"/>
            <p:nvPr/>
          </p:nvSpPr>
          <p:spPr>
            <a:xfrm>
              <a:off x="3949822" y="4006708"/>
              <a:ext cx="269341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ransformer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C2ABB68-BFF9-D845-B1AA-9904B2C776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4398" y="3349185"/>
              <a:ext cx="784769" cy="474300"/>
            </a:xfrm>
            <a:prstGeom prst="line">
              <a:avLst/>
            </a:prstGeom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2B2C72D-78FE-6757-52C6-655BE356B498}"/>
                </a:ext>
              </a:extLst>
            </p:cNvPr>
            <p:cNvSpPr txBox="1"/>
            <p:nvPr/>
          </p:nvSpPr>
          <p:spPr>
            <a:xfrm>
              <a:off x="4795412" y="4560108"/>
              <a:ext cx="133230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Low Voltage </a:t>
              </a:r>
              <a:b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witchgear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1A3D2EF-78FC-0CD1-03B9-1556CC8FCD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82364" y="3662950"/>
              <a:ext cx="784769" cy="474300"/>
            </a:xfrm>
            <a:prstGeom prst="line">
              <a:avLst/>
            </a:prstGeom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9AE37CC-4594-B02B-056B-D15D68D4B4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25233" y="4253220"/>
              <a:ext cx="784769" cy="474300"/>
            </a:xfrm>
            <a:prstGeom prst="line">
              <a:avLst/>
            </a:prstGeom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CDF58D17-8F63-530F-7F32-C2E5E6831E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95463" y="1965278"/>
            <a:ext cx="2256712" cy="237471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B00A0A9-82DE-6812-939A-14FDC58248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00032" y="2905216"/>
            <a:ext cx="1853563" cy="21293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1D18C0C-9B52-DA6A-7A36-E4ED7832B3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92617" y="3468206"/>
            <a:ext cx="2693418" cy="2134129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B46D653C-A72C-4A46-5008-CDF8D465F6DC}"/>
              </a:ext>
            </a:extLst>
          </p:cNvPr>
          <p:cNvGrpSpPr/>
          <p:nvPr/>
        </p:nvGrpSpPr>
        <p:grpSpPr>
          <a:xfrm>
            <a:off x="14024783" y="6026778"/>
            <a:ext cx="1682365" cy="1371968"/>
            <a:chOff x="14024783" y="6026778"/>
            <a:chExt cx="1682365" cy="1371968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0E666D1-CAC0-F86D-3BE2-D139A5E477C4}"/>
                </a:ext>
              </a:extLst>
            </p:cNvPr>
            <p:cNvSpPr txBox="1"/>
            <p:nvPr/>
          </p:nvSpPr>
          <p:spPr>
            <a:xfrm>
              <a:off x="14024783" y="6026778"/>
              <a:ext cx="166204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4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8V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1FD81C1-5AEF-BB4A-4395-63FB68969BF5}"/>
                </a:ext>
              </a:extLst>
            </p:cNvPr>
            <p:cNvSpPr txBox="1"/>
            <p:nvPr/>
          </p:nvSpPr>
          <p:spPr>
            <a:xfrm>
              <a:off x="14045107" y="6783193"/>
              <a:ext cx="166204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60 Sq. Ft </a:t>
              </a:r>
              <a:b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USED In Data Hall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009AD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43F1658-21FD-A19C-52D9-D79793D33110}"/>
                </a:ext>
              </a:extLst>
            </p:cNvPr>
            <p:cNvCxnSpPr/>
            <p:nvPr/>
          </p:nvCxnSpPr>
          <p:spPr>
            <a:xfrm>
              <a:off x="14052881" y="6734664"/>
              <a:ext cx="1359568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BB565FA-7819-9464-BB14-EDBD97E836CF}"/>
              </a:ext>
            </a:extLst>
          </p:cNvPr>
          <p:cNvGrpSpPr/>
          <p:nvPr/>
        </p:nvGrpSpPr>
        <p:grpSpPr>
          <a:xfrm>
            <a:off x="594157" y="2768071"/>
            <a:ext cx="1829555" cy="1199356"/>
            <a:chOff x="594157" y="2768071"/>
            <a:chExt cx="1829555" cy="1199356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28C66C1-2CD6-4C74-10B8-7C89ED7AF135}"/>
                </a:ext>
              </a:extLst>
            </p:cNvPr>
            <p:cNvSpPr txBox="1"/>
            <p:nvPr/>
          </p:nvSpPr>
          <p:spPr>
            <a:xfrm>
              <a:off x="741347" y="2768071"/>
              <a:ext cx="16620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ir-Cooled</a:t>
              </a:r>
              <a:endParaRPr kumimoji="0" lang="en-IE" sz="2400" b="1" i="0" u="none" strike="noStrike" kern="1200" cap="none" spc="0" normalizeH="0" baseline="0" noProof="0">
                <a:ln>
                  <a:noFill/>
                </a:ln>
                <a:solidFill>
                  <a:srgbClr val="009AD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FC14C30-5ABA-B4A4-841E-264B2F647C8C}"/>
                </a:ext>
              </a:extLst>
            </p:cNvPr>
            <p:cNvSpPr txBox="1"/>
            <p:nvPr/>
          </p:nvSpPr>
          <p:spPr>
            <a:xfrm>
              <a:off x="594157" y="3351874"/>
              <a:ext cx="1829555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200 Amp </a:t>
              </a:r>
              <a:b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BUSWAY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009AD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56468B51-B667-6874-A7C1-05F795302ABC}"/>
                </a:ext>
              </a:extLst>
            </p:cNvPr>
            <p:cNvCxnSpPr>
              <a:cxnSpLocks/>
            </p:cNvCxnSpPr>
            <p:nvPr/>
          </p:nvCxnSpPr>
          <p:spPr>
            <a:xfrm>
              <a:off x="769445" y="3267249"/>
              <a:ext cx="1633943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65FE9F4-93FE-E7A7-66DD-0BD341275B1B}"/>
              </a:ext>
            </a:extLst>
          </p:cNvPr>
          <p:cNvGrpSpPr/>
          <p:nvPr/>
        </p:nvGrpSpPr>
        <p:grpSpPr>
          <a:xfrm>
            <a:off x="6430313" y="5143662"/>
            <a:ext cx="597143" cy="523568"/>
            <a:chOff x="6423742" y="5083855"/>
            <a:chExt cx="729853" cy="639927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B6EB980-42BB-313E-D1DB-C0556FFE3F8C}"/>
                </a:ext>
              </a:extLst>
            </p:cNvPr>
            <p:cNvSpPr txBox="1"/>
            <p:nvPr/>
          </p:nvSpPr>
          <p:spPr>
            <a:xfrm>
              <a:off x="6423742" y="5083855"/>
              <a:ext cx="729853" cy="413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600" b="0" i="0" u="none" strike="noStrike" kern="1200" cap="none" spc="0" normalizeH="0" baseline="0" noProof="0">
                  <a:ln>
                    <a:noFill/>
                  </a:ln>
                  <a:solidFill>
                    <a:srgbClr val="009AD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C</a:t>
              </a: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098CA839-8DB7-3B7B-41B0-3444D92C80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583584" y="5470876"/>
              <a:ext cx="410168" cy="252906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15AFD-E17D-E8E4-FFE9-8FBC85743C07}"/>
              </a:ext>
            </a:extLst>
          </p:cNvPr>
          <p:cNvSpPr txBox="1"/>
          <p:nvPr/>
        </p:nvSpPr>
        <p:spPr>
          <a:xfrm>
            <a:off x="5376395" y="1387638"/>
            <a:ext cx="15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ectrical Room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46D1423-EEBB-8D8B-16B0-0277B3F39176}"/>
              </a:ext>
            </a:extLst>
          </p:cNvPr>
          <p:cNvCxnSpPr/>
          <p:nvPr/>
        </p:nvCxnSpPr>
        <p:spPr>
          <a:xfrm>
            <a:off x="5410002" y="1446663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E9E3857-5B86-A966-ED69-26D71C8A9A19}"/>
              </a:ext>
            </a:extLst>
          </p:cNvPr>
          <p:cNvSpPr txBox="1"/>
          <p:nvPr/>
        </p:nvSpPr>
        <p:spPr>
          <a:xfrm>
            <a:off x="8259907" y="3015222"/>
            <a:ext cx="111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Hal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0222B8A-98A4-842C-0051-6818F4ABCEE8}"/>
              </a:ext>
            </a:extLst>
          </p:cNvPr>
          <p:cNvCxnSpPr/>
          <p:nvPr/>
        </p:nvCxnSpPr>
        <p:spPr>
          <a:xfrm>
            <a:off x="8293514" y="3074247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CB3121F4-C5B9-F5FB-186C-374760CA752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005744" y="3178445"/>
            <a:ext cx="5552760" cy="3308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40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2A2F40-4955-D6C3-D25E-2ECB71D83A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0956114D-1830-FFE8-7CEC-BE72716B5734}"/>
              </a:ext>
            </a:extLst>
          </p:cNvPr>
          <p:cNvSpPr txBox="1"/>
          <p:nvPr/>
        </p:nvSpPr>
        <p:spPr>
          <a:xfrm>
            <a:off x="9512787" y="2411684"/>
            <a:ext cx="181327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%</a:t>
            </a:r>
            <a:endParaRPr kumimoji="0" lang="en-IE" sz="3200" b="0" i="0" u="none" strike="noStrike" kern="1200" cap="none" spc="0" normalizeH="0" baseline="0" noProof="0">
              <a:ln>
                <a:noFill/>
              </a:ln>
              <a:solidFill>
                <a:srgbClr val="006432">
                  <a:lumMod val="90000"/>
                  <a:lumOff val="1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mprovement in efficiency</a:t>
            </a: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3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54146BB-535B-E78A-E1DB-F2A64BA1F995}"/>
              </a:ext>
            </a:extLst>
          </p:cNvPr>
          <p:cNvCxnSpPr>
            <a:cxnSpLocks/>
          </p:cNvCxnSpPr>
          <p:nvPr/>
        </p:nvCxnSpPr>
        <p:spPr>
          <a:xfrm>
            <a:off x="11384837" y="1473391"/>
            <a:ext cx="0" cy="4193839"/>
          </a:xfrm>
          <a:prstGeom prst="line">
            <a:avLst/>
          </a:prstGeom>
          <a:ln w="28575">
            <a:solidFill>
              <a:schemeClr val="accent4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D2329D6-4375-5803-8071-66D2F1998673}"/>
              </a:ext>
            </a:extLst>
          </p:cNvPr>
          <p:cNvCxnSpPr>
            <a:cxnSpLocks/>
          </p:cNvCxnSpPr>
          <p:nvPr/>
        </p:nvCxnSpPr>
        <p:spPr>
          <a:xfrm>
            <a:off x="13843437" y="1473391"/>
            <a:ext cx="0" cy="5309802"/>
          </a:xfrm>
          <a:prstGeom prst="line">
            <a:avLst/>
          </a:prstGeom>
          <a:ln w="28575">
            <a:solidFill>
              <a:schemeClr val="accent4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253A1E7-1B50-BE57-A455-59E5EE0C912D}"/>
              </a:ext>
            </a:extLst>
          </p:cNvPr>
          <p:cNvSpPr txBox="1"/>
          <p:nvPr/>
        </p:nvSpPr>
        <p:spPr>
          <a:xfrm>
            <a:off x="13898637" y="2411684"/>
            <a:ext cx="1827358" cy="1754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0%</a:t>
            </a:r>
            <a:br>
              <a:rPr kumimoji="0" lang="en-IE" sz="32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IE" sz="18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eduction in IT floor space</a:t>
            </a: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3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88E08AB-1561-0571-EF87-DDC12D935880}"/>
              </a:ext>
            </a:extLst>
          </p:cNvPr>
          <p:cNvCxnSpPr>
            <a:cxnSpLocks/>
          </p:cNvCxnSpPr>
          <p:nvPr/>
        </p:nvCxnSpPr>
        <p:spPr>
          <a:xfrm>
            <a:off x="9472613" y="1473391"/>
            <a:ext cx="0" cy="2877285"/>
          </a:xfrm>
          <a:prstGeom prst="line">
            <a:avLst/>
          </a:prstGeom>
          <a:ln w="28575">
            <a:solidFill>
              <a:schemeClr val="accent4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84A0D5A9-C87C-5B9A-6540-B7F5648A2F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33255" y="1428063"/>
            <a:ext cx="759600" cy="7596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5739A94D-1231-F88F-B955-20B3E1788D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6690" y="1442297"/>
            <a:ext cx="864000" cy="8640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D4A5F8F6-C776-6781-8734-10E1D308C7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920148" y="1445730"/>
            <a:ext cx="828000" cy="82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4632F34-1B18-645D-6D83-819DCF0099F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94408" y="1605294"/>
            <a:ext cx="11672500" cy="730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4834469-64C3-387B-7B5F-D0C6BAB47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485162"/>
            <a:ext cx="14630400" cy="548640"/>
          </a:xfrm>
        </p:spPr>
        <p:txBody>
          <a:bodyPr/>
          <a:lstStyle/>
          <a:p>
            <a:r>
              <a:rPr lang="en-IE"/>
              <a:t>Future consolidated IT power </a:t>
            </a:r>
            <a:r>
              <a:rPr lang="en-IE" b="0">
                <a:solidFill>
                  <a:schemeClr val="accent4">
                    <a:lumMod val="90000"/>
                    <a:lumOff val="10000"/>
                  </a:schemeClr>
                </a:solidFill>
              </a:rPr>
              <a:t>[ </a:t>
            </a:r>
            <a:r>
              <a:rPr lang="en-IE">
                <a:solidFill>
                  <a:schemeClr val="accent4">
                    <a:lumMod val="90000"/>
                    <a:lumOff val="10000"/>
                  </a:schemeClr>
                </a:solidFill>
              </a:rPr>
              <a:t>2027 </a:t>
            </a:r>
            <a:r>
              <a:rPr lang="en-IE" b="0">
                <a:solidFill>
                  <a:schemeClr val="accent4">
                    <a:lumMod val="90000"/>
                    <a:lumOff val="10000"/>
                  </a:schemeClr>
                </a:solidFill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EFE953-C118-EAC3-79A9-FB647B36E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79731-2882-4D80-9BED-4696CF6F22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2626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62626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B7C6A60-98F4-853C-2E08-7975E00D148D}"/>
              </a:ext>
            </a:extLst>
          </p:cNvPr>
          <p:cNvGrpSpPr/>
          <p:nvPr/>
        </p:nvGrpSpPr>
        <p:grpSpPr>
          <a:xfrm>
            <a:off x="3004398" y="3349185"/>
            <a:ext cx="3638842" cy="1624861"/>
            <a:chOff x="3004398" y="3349185"/>
            <a:chExt cx="3638842" cy="162486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FA015B6-6B48-3FB7-1391-920B3202C36F}"/>
                </a:ext>
              </a:extLst>
            </p:cNvPr>
            <p:cNvSpPr txBox="1"/>
            <p:nvPr/>
          </p:nvSpPr>
          <p:spPr>
            <a:xfrm>
              <a:off x="3242536" y="3599122"/>
              <a:ext cx="166204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V Switch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FB243BA-A4BB-3E88-84ED-4F9865631EF7}"/>
                </a:ext>
              </a:extLst>
            </p:cNvPr>
            <p:cNvSpPr txBox="1"/>
            <p:nvPr/>
          </p:nvSpPr>
          <p:spPr>
            <a:xfrm>
              <a:off x="3949822" y="4006708"/>
              <a:ext cx="269341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ransformer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A734A2E-A0E6-30D3-7311-E90442CB3E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4398" y="3349185"/>
              <a:ext cx="784769" cy="474300"/>
            </a:xfrm>
            <a:prstGeom prst="line">
              <a:avLst/>
            </a:prstGeom>
            <a:ln w="28575">
              <a:solidFill>
                <a:schemeClr val="accent4">
                  <a:lumMod val="90000"/>
                  <a:lumOff val="1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6DC027B-53BD-E5A9-9E7D-F0A5D2F8F2EA}"/>
                </a:ext>
              </a:extLst>
            </p:cNvPr>
            <p:cNvSpPr txBox="1"/>
            <p:nvPr/>
          </p:nvSpPr>
          <p:spPr>
            <a:xfrm>
              <a:off x="4793819" y="4558548"/>
              <a:ext cx="133230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Low Voltage </a:t>
              </a:r>
              <a:b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witchgear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42F6F3F-3E9F-9C81-72DD-DE2EBEBD6A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82364" y="3662950"/>
              <a:ext cx="784769" cy="474300"/>
            </a:xfrm>
            <a:prstGeom prst="line">
              <a:avLst/>
            </a:prstGeom>
            <a:ln w="28575">
              <a:solidFill>
                <a:schemeClr val="accent4">
                  <a:lumMod val="90000"/>
                  <a:lumOff val="1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02A132F-D153-265A-9D02-EC221BF827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25233" y="4253220"/>
              <a:ext cx="784769" cy="474300"/>
            </a:xfrm>
            <a:prstGeom prst="line">
              <a:avLst/>
            </a:prstGeom>
            <a:ln w="28575">
              <a:solidFill>
                <a:schemeClr val="accent4">
                  <a:lumMod val="90000"/>
                  <a:lumOff val="1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CF416904-39D2-A8D7-B9CA-21E67F18A6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95463" y="1965278"/>
            <a:ext cx="2256712" cy="237471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801317D-E0C4-2570-FB77-388670409AB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300032" y="2905216"/>
            <a:ext cx="1853563" cy="21293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39D89C02-AC9F-9D05-52AC-D00300264DC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92617" y="3468206"/>
            <a:ext cx="2693418" cy="2134129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89D210F6-A5A7-4531-9BAB-710C8FB8CB4C}"/>
              </a:ext>
            </a:extLst>
          </p:cNvPr>
          <p:cNvGrpSpPr/>
          <p:nvPr/>
        </p:nvGrpSpPr>
        <p:grpSpPr>
          <a:xfrm>
            <a:off x="14055578" y="6152056"/>
            <a:ext cx="2300648" cy="1385190"/>
            <a:chOff x="14033526" y="6365137"/>
            <a:chExt cx="1246557" cy="138519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1522EDE-563B-18F4-939E-D08942C7BF91}"/>
                </a:ext>
              </a:extLst>
            </p:cNvPr>
            <p:cNvSpPr txBox="1"/>
            <p:nvPr/>
          </p:nvSpPr>
          <p:spPr>
            <a:xfrm>
              <a:off x="14184461" y="6365137"/>
              <a:ext cx="109562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32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800VDC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D513E8-8E8F-9801-5321-79531E2F5F0E}"/>
                </a:ext>
              </a:extLst>
            </p:cNvPr>
            <p:cNvSpPr txBox="1"/>
            <p:nvPr/>
          </p:nvSpPr>
          <p:spPr>
            <a:xfrm>
              <a:off x="14052881" y="7134774"/>
              <a:ext cx="1067524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2 Sq. Ft </a:t>
              </a:r>
              <a:b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USED in Data Hall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375538F-8799-9997-6539-579A76C69F2D}"/>
                </a:ext>
              </a:extLst>
            </p:cNvPr>
            <p:cNvCxnSpPr>
              <a:cxnSpLocks/>
            </p:cNvCxnSpPr>
            <p:nvPr/>
          </p:nvCxnSpPr>
          <p:spPr>
            <a:xfrm>
              <a:off x="14033526" y="6977773"/>
              <a:ext cx="1086880" cy="0"/>
            </a:xfrm>
            <a:prstGeom prst="line">
              <a:avLst/>
            </a:prstGeom>
            <a:ln w="28575">
              <a:solidFill>
                <a:schemeClr val="accent4">
                  <a:lumMod val="90000"/>
                  <a:lumOff val="1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8D8FE4E-7462-A33D-4F0A-4AFA184D2C2F}"/>
              </a:ext>
            </a:extLst>
          </p:cNvPr>
          <p:cNvGrpSpPr/>
          <p:nvPr/>
        </p:nvGrpSpPr>
        <p:grpSpPr>
          <a:xfrm>
            <a:off x="-18147" y="2768071"/>
            <a:ext cx="2441859" cy="1199356"/>
            <a:chOff x="-18147" y="2768071"/>
            <a:chExt cx="2441859" cy="119935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513F485-8145-76DB-8BBE-141F9A532D74}"/>
                </a:ext>
              </a:extLst>
            </p:cNvPr>
            <p:cNvSpPr txBox="1"/>
            <p:nvPr/>
          </p:nvSpPr>
          <p:spPr>
            <a:xfrm>
              <a:off x="-18147" y="2768071"/>
              <a:ext cx="24215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Liquid Cooled</a:t>
              </a:r>
              <a:endParaRPr kumimoji="0" lang="en-IE" sz="2400" b="1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57816EF-9EFD-A749-24D4-DC4578F55D0A}"/>
                </a:ext>
              </a:extLst>
            </p:cNvPr>
            <p:cNvSpPr txBox="1"/>
            <p:nvPr/>
          </p:nvSpPr>
          <p:spPr>
            <a:xfrm>
              <a:off x="181019" y="3351874"/>
              <a:ext cx="2242693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000 Amp </a:t>
              </a:r>
              <a:b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OUBLE MOD BUSWAY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3908E81-1309-63DD-EAD2-A4DA1944A375}"/>
                </a:ext>
              </a:extLst>
            </p:cNvPr>
            <p:cNvCxnSpPr>
              <a:cxnSpLocks/>
            </p:cNvCxnSpPr>
            <p:nvPr/>
          </p:nvCxnSpPr>
          <p:spPr>
            <a:xfrm>
              <a:off x="769445" y="3267249"/>
              <a:ext cx="1633943" cy="0"/>
            </a:xfrm>
            <a:prstGeom prst="line">
              <a:avLst/>
            </a:prstGeom>
            <a:ln w="28575">
              <a:solidFill>
                <a:schemeClr val="accent4">
                  <a:lumMod val="90000"/>
                  <a:lumOff val="1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8F302AF0-FF96-1C02-E106-24D210A1B6E4}"/>
              </a:ext>
            </a:extLst>
          </p:cNvPr>
          <p:cNvSpPr txBox="1"/>
          <p:nvPr/>
        </p:nvSpPr>
        <p:spPr>
          <a:xfrm>
            <a:off x="11443613" y="2411684"/>
            <a:ext cx="220382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12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>
                <a:ln>
                  <a:noFill/>
                </a:ln>
                <a:solidFill>
                  <a:srgbClr val="006432">
                    <a:lumMod val="90000"/>
                    <a:lumOff val="1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$240k</a:t>
            </a:r>
            <a:endParaRPr kumimoji="0" lang="en-IE" sz="2400" b="1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nual energy savings per rack</a:t>
            </a:r>
          </a:p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3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B69057F-2D7A-BCCD-4363-E0B496F56829}"/>
              </a:ext>
            </a:extLst>
          </p:cNvPr>
          <p:cNvSpPr txBox="1"/>
          <p:nvPr/>
        </p:nvSpPr>
        <p:spPr>
          <a:xfrm>
            <a:off x="5376395" y="1387638"/>
            <a:ext cx="15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ectrical Room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598A858-B29E-9EC8-4E68-53B5EAD3644E}"/>
              </a:ext>
            </a:extLst>
          </p:cNvPr>
          <p:cNvCxnSpPr/>
          <p:nvPr/>
        </p:nvCxnSpPr>
        <p:spPr>
          <a:xfrm>
            <a:off x="5410002" y="1446663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509AADD0-80E7-03FB-F81B-51C17F896988}"/>
              </a:ext>
            </a:extLst>
          </p:cNvPr>
          <p:cNvSpPr txBox="1"/>
          <p:nvPr/>
        </p:nvSpPr>
        <p:spPr>
          <a:xfrm>
            <a:off x="8259907" y="3015222"/>
            <a:ext cx="111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Hall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7269DBF-6D1E-67A3-853F-01B8A57316C3}"/>
              </a:ext>
            </a:extLst>
          </p:cNvPr>
          <p:cNvCxnSpPr/>
          <p:nvPr/>
        </p:nvCxnSpPr>
        <p:spPr>
          <a:xfrm>
            <a:off x="8293514" y="3074247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B9B777F-0652-88DD-D08C-D37659CC324C}"/>
              </a:ext>
            </a:extLst>
          </p:cNvPr>
          <p:cNvGrpSpPr/>
          <p:nvPr/>
        </p:nvGrpSpPr>
        <p:grpSpPr>
          <a:xfrm>
            <a:off x="6430313" y="5143662"/>
            <a:ext cx="597143" cy="523568"/>
            <a:chOff x="6423742" y="5083855"/>
            <a:chExt cx="729853" cy="63992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5EC3DF5-09C3-7D92-CEA7-860EC416BB86}"/>
                </a:ext>
              </a:extLst>
            </p:cNvPr>
            <p:cNvSpPr txBox="1"/>
            <p:nvPr/>
          </p:nvSpPr>
          <p:spPr>
            <a:xfrm>
              <a:off x="6423742" y="5083855"/>
              <a:ext cx="729853" cy="413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600" b="0" i="0" u="none" strike="noStrike" kern="1200" cap="none" spc="0" normalizeH="0" baseline="0" noProof="0">
                  <a:ln>
                    <a:noFill/>
                  </a:ln>
                  <a:solidFill>
                    <a:srgbClr val="006432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C</a:t>
              </a:r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FE6D9DB9-8352-EEBB-B1CD-8062C071E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83584" y="5470876"/>
              <a:ext cx="410168" cy="252906"/>
            </a:xfrm>
            <a:prstGeom prst="rect">
              <a:avLst/>
            </a:prstGeom>
          </p:spPr>
        </p:pic>
      </p:grpSp>
      <p:pic>
        <p:nvPicPr>
          <p:cNvPr id="69" name="Graphic 68">
            <a:extLst>
              <a:ext uri="{FF2B5EF4-FFF2-40B4-BE49-F238E27FC236}">
                <a16:creationId xmlns:a16="http://schemas.microsoft.com/office/drawing/2014/main" id="{34768830-151B-4164-FC30-88A0DA936D0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069422" y="3031720"/>
            <a:ext cx="2877298" cy="183591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37B1FE21-A554-4F8F-1E53-10C19F15730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80030" y="4518812"/>
            <a:ext cx="2751718" cy="2916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A94A184-E38F-E100-E70C-3F25A9B4DF1A}"/>
              </a:ext>
            </a:extLst>
          </p:cNvPr>
          <p:cNvSpPr txBox="1"/>
          <p:nvPr/>
        </p:nvSpPr>
        <p:spPr>
          <a:xfrm>
            <a:off x="14053344" y="6268365"/>
            <a:ext cx="1072356" cy="4124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IE" sz="1300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90000"/>
                    <a:lumOff val="10000"/>
                  </a:schemeClr>
                </a:solidFill>
                <a:effectLst/>
                <a:uLnTx/>
                <a:uFillTx/>
                <a:latin typeface="Century Gothic" panose="020F0302020204030204"/>
              </a:rPr>
              <a:t>UP</a:t>
            </a:r>
            <a:br>
              <a:rPr kumimoji="0" lang="en-IE" sz="1300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90000"/>
                    <a:lumOff val="10000"/>
                  </a:schemeClr>
                </a:solidFill>
                <a:effectLst/>
                <a:uLnTx/>
                <a:uFillTx/>
                <a:latin typeface="Century Gothic" panose="020F0302020204030204"/>
              </a:rPr>
            </a:br>
            <a:r>
              <a:rPr kumimoji="0" lang="en-IE" sz="1300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90000"/>
                    <a:lumOff val="10000"/>
                  </a:schemeClr>
                </a:solidFill>
                <a:effectLst/>
                <a:uLnTx/>
                <a:uFillTx/>
                <a:latin typeface="Century Gothic" panose="020F0302020204030204"/>
              </a:rPr>
              <a:t>TO</a:t>
            </a:r>
            <a:endParaRPr lang="en-IE" sz="130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4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8" grpId="0"/>
      <p:bldP spid="57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C35B0-61C9-7402-93DC-4608309DD0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E2AEB11-AA95-59AA-A11D-924CEB352AEB}"/>
              </a:ext>
            </a:extLst>
          </p:cNvPr>
          <p:cNvGrpSpPr/>
          <p:nvPr/>
        </p:nvGrpSpPr>
        <p:grpSpPr>
          <a:xfrm>
            <a:off x="9472613" y="1400124"/>
            <a:ext cx="6349282" cy="5383069"/>
            <a:chOff x="9472613" y="1400124"/>
            <a:chExt cx="6349282" cy="5383069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6CE735B-0FD7-A284-E909-C2DEC0D9D15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4837" y="1473391"/>
              <a:ext cx="0" cy="419383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BE9649F-1CE3-5691-F209-EC8EF0F5E8BC}"/>
                </a:ext>
              </a:extLst>
            </p:cNvPr>
            <p:cNvCxnSpPr>
              <a:cxnSpLocks/>
            </p:cNvCxnSpPr>
            <p:nvPr/>
          </p:nvCxnSpPr>
          <p:spPr>
            <a:xfrm>
              <a:off x="13843437" y="1473391"/>
              <a:ext cx="0" cy="5309802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153D813-6DB8-9EF7-AC7D-7313921258D2}"/>
                </a:ext>
              </a:extLst>
            </p:cNvPr>
            <p:cNvCxnSpPr>
              <a:cxnSpLocks/>
            </p:cNvCxnSpPr>
            <p:nvPr/>
          </p:nvCxnSpPr>
          <p:spPr>
            <a:xfrm>
              <a:off x="9472613" y="1473391"/>
              <a:ext cx="0" cy="2877285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F7AB32A-821F-C42F-6BF2-6FF94CB05D45}"/>
                </a:ext>
              </a:extLst>
            </p:cNvPr>
            <p:cNvSpPr txBox="1"/>
            <p:nvPr/>
          </p:nvSpPr>
          <p:spPr>
            <a:xfrm>
              <a:off x="9512787" y="2411684"/>
              <a:ext cx="1721383" cy="1261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40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7%+</a:t>
              </a:r>
              <a:endParaRPr kumimoji="0" lang="en-IE" sz="3200" b="0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Efficiency gain</a:t>
              </a:r>
              <a:endParaRPr kumimoji="0" lang="en-IE" sz="32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EA66101-CF4F-94DF-B3E9-71BA9CC82697}"/>
                </a:ext>
              </a:extLst>
            </p:cNvPr>
            <p:cNvSpPr txBox="1"/>
            <p:nvPr/>
          </p:nvSpPr>
          <p:spPr>
            <a:xfrm>
              <a:off x="13898636" y="2411684"/>
              <a:ext cx="1923259" cy="233910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40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90%</a:t>
              </a:r>
              <a:br>
                <a:rPr kumimoji="0" lang="en-IE" sz="3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pace savings </a:t>
              </a:r>
              <a:b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– simplifies data center construction and reduces size of electrical room</a:t>
              </a:r>
            </a:p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32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CFD92E6-5F4A-C070-FC7D-53DE83AD5DA8}"/>
                </a:ext>
              </a:extLst>
            </p:cNvPr>
            <p:cNvSpPr txBox="1"/>
            <p:nvPr/>
          </p:nvSpPr>
          <p:spPr>
            <a:xfrm>
              <a:off x="11443613" y="2411684"/>
              <a:ext cx="2203820" cy="1261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8126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40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$330k</a:t>
              </a:r>
              <a:endParaRPr kumimoji="0" lang="en-IE" sz="2400" b="1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Energy savings </a:t>
              </a:r>
              <a:b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er 1MW per year</a:t>
              </a:r>
              <a:endParaRPr kumimoji="0" lang="en-IE" sz="32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34E071E1-9366-2686-D3D3-D0EC6F3B55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38463" y="1409314"/>
              <a:ext cx="760265" cy="76026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33A73452-704E-F9DA-3A38-2477513F1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407760" y="1426672"/>
              <a:ext cx="895249" cy="895249"/>
            </a:xfrm>
            <a:prstGeom prst="rect">
              <a:avLst/>
            </a:prstGeom>
          </p:spPr>
        </p:pic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2AD707CA-03FF-E846-7509-6582D2D36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879866" y="1400124"/>
              <a:ext cx="778644" cy="778644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42314465-7067-9687-8561-42DCEDCF78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9879" y="1605294"/>
            <a:ext cx="11672500" cy="730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F4826CB-B5BA-2CD8-0AAC-7FDBE727C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Next Gen </a:t>
            </a:r>
            <a:r>
              <a:rPr lang="en-IE" b="0">
                <a:solidFill>
                  <a:schemeClr val="accent6"/>
                </a:solidFill>
              </a:rPr>
              <a:t>[ </a:t>
            </a:r>
            <a:r>
              <a:rPr lang="en-IE">
                <a:solidFill>
                  <a:schemeClr val="accent6"/>
                </a:solidFill>
              </a:rPr>
              <a:t>2030 </a:t>
            </a:r>
            <a:r>
              <a:rPr lang="en-IE" b="0">
                <a:solidFill>
                  <a:schemeClr val="accent6"/>
                </a:solidFill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016F32-0609-72BC-9FC0-616C5F21A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79731-2882-4D80-9BED-4696CF6F22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2626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62626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153FE9-4E02-5B88-B4C6-6CF142ED147E}"/>
              </a:ext>
            </a:extLst>
          </p:cNvPr>
          <p:cNvGrpSpPr/>
          <p:nvPr/>
        </p:nvGrpSpPr>
        <p:grpSpPr>
          <a:xfrm>
            <a:off x="3004398" y="3349185"/>
            <a:ext cx="1900179" cy="511547"/>
            <a:chOff x="3004398" y="3349185"/>
            <a:chExt cx="1900179" cy="51154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5A5DFB8-D43A-5EE3-9005-EB198F21B904}"/>
                </a:ext>
              </a:extLst>
            </p:cNvPr>
            <p:cNvSpPr txBox="1"/>
            <p:nvPr/>
          </p:nvSpPr>
          <p:spPr>
            <a:xfrm>
              <a:off x="3242536" y="3599122"/>
              <a:ext cx="166204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05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V Switch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84DB642-77E4-1005-33B6-7788EAFB1E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4398" y="3349185"/>
              <a:ext cx="784769" cy="474300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C57A4BF-83F6-3A88-B7A3-1F8F6A0E2FFF}"/>
              </a:ext>
            </a:extLst>
          </p:cNvPr>
          <p:cNvGrpSpPr/>
          <p:nvPr/>
        </p:nvGrpSpPr>
        <p:grpSpPr>
          <a:xfrm>
            <a:off x="14024783" y="6125625"/>
            <a:ext cx="2277254" cy="1273121"/>
            <a:chOff x="14024783" y="6125625"/>
            <a:chExt cx="2277254" cy="127312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06E7DD3-6DAE-D0E9-7720-6B3CB2172A55}"/>
                </a:ext>
              </a:extLst>
            </p:cNvPr>
            <p:cNvSpPr txBox="1"/>
            <p:nvPr/>
          </p:nvSpPr>
          <p:spPr>
            <a:xfrm>
              <a:off x="14024783" y="6125625"/>
              <a:ext cx="227725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3200" b="1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800VDC+</a:t>
              </a:r>
              <a:endParaRPr kumimoji="0" lang="en-IE" sz="4000" b="1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2BE9E0B-5FD1-180D-22CB-032C0FB3BC58}"/>
                </a:ext>
              </a:extLst>
            </p:cNvPr>
            <p:cNvSpPr txBox="1"/>
            <p:nvPr/>
          </p:nvSpPr>
          <p:spPr>
            <a:xfrm>
              <a:off x="14045107" y="6783193"/>
              <a:ext cx="166204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2 Sq. Ft </a:t>
              </a:r>
              <a:b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USED in Data Hall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0CF32E8-4748-6A71-0528-AEF1C17E4258}"/>
                </a:ext>
              </a:extLst>
            </p:cNvPr>
            <p:cNvCxnSpPr>
              <a:cxnSpLocks/>
            </p:cNvCxnSpPr>
            <p:nvPr/>
          </p:nvCxnSpPr>
          <p:spPr>
            <a:xfrm>
              <a:off x="14052881" y="6734664"/>
              <a:ext cx="1937087" cy="0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30C0F6C-22C3-7ECC-0E81-53149F47A133}"/>
              </a:ext>
            </a:extLst>
          </p:cNvPr>
          <p:cNvGrpSpPr/>
          <p:nvPr/>
        </p:nvGrpSpPr>
        <p:grpSpPr>
          <a:xfrm>
            <a:off x="-18147" y="2768071"/>
            <a:ext cx="2421536" cy="499178"/>
            <a:chOff x="-18147" y="2768071"/>
            <a:chExt cx="2421536" cy="499178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5A25625-CD52-5508-C8A0-660F433E2740}"/>
                </a:ext>
              </a:extLst>
            </p:cNvPr>
            <p:cNvSpPr txBox="1"/>
            <p:nvPr/>
          </p:nvSpPr>
          <p:spPr>
            <a:xfrm>
              <a:off x="-18147" y="2768071"/>
              <a:ext cx="24215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Liquid Cooled</a:t>
              </a:r>
              <a:endParaRPr kumimoji="0" lang="en-IE" sz="2400" b="1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267BEAC-6372-F06B-0E9C-13A4947F42A3}"/>
                </a:ext>
              </a:extLst>
            </p:cNvPr>
            <p:cNvCxnSpPr>
              <a:cxnSpLocks/>
            </p:cNvCxnSpPr>
            <p:nvPr/>
          </p:nvCxnSpPr>
          <p:spPr>
            <a:xfrm>
              <a:off x="769445" y="3267249"/>
              <a:ext cx="1633943" cy="0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51C08EA-3FD6-4BA0-EEEC-E955E8E48B53}"/>
              </a:ext>
            </a:extLst>
          </p:cNvPr>
          <p:cNvGrpSpPr/>
          <p:nvPr/>
        </p:nvGrpSpPr>
        <p:grpSpPr>
          <a:xfrm>
            <a:off x="8722354" y="4484635"/>
            <a:ext cx="876416" cy="423155"/>
            <a:chOff x="8722354" y="4484635"/>
            <a:chExt cx="876416" cy="42315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2D595CE-3357-75F8-412A-8C8A25933C74}"/>
                </a:ext>
              </a:extLst>
            </p:cNvPr>
            <p:cNvSpPr txBox="1"/>
            <p:nvPr/>
          </p:nvSpPr>
          <p:spPr>
            <a:xfrm>
              <a:off x="8722354" y="4484635"/>
              <a:ext cx="87641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6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C</a:t>
              </a: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BA74E55D-27EC-3A4C-CB02-3470294E6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992433" y="4791838"/>
              <a:ext cx="336448" cy="115952"/>
            </a:xfrm>
            <a:prstGeom prst="rect">
              <a:avLst/>
            </a:prstGeom>
          </p:spPr>
        </p:pic>
      </p:grpSp>
      <p:pic>
        <p:nvPicPr>
          <p:cNvPr id="81" name="Graphic 80">
            <a:extLst>
              <a:ext uri="{FF2B5EF4-FFF2-40B4-BE49-F238E27FC236}">
                <a16:creationId xmlns:a16="http://schemas.microsoft.com/office/drawing/2014/main" id="{05B15089-7126-82A3-B1F8-C12470C1023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64698" y="1961829"/>
            <a:ext cx="3463346" cy="3072687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EA6C741-B164-7077-E412-A6A91CFD557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92617" y="3468206"/>
            <a:ext cx="2693418" cy="2134129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24F6DE63-5F5F-C438-2E0A-8E60B4E643D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84224" y="3491881"/>
            <a:ext cx="2483207" cy="1449104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D19133D8-9DAB-E7B6-2D13-CF6F607328B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352134" y="4367595"/>
            <a:ext cx="1112727" cy="1980000"/>
          </a:xfrm>
          <a:prstGeom prst="rect">
            <a:avLst/>
          </a:prstGeom>
          <a:effectLst/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A1CF3C38-6700-D523-A436-3F31628FAED8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8591" y="4532374"/>
            <a:ext cx="2900993" cy="331453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E01699-FCF2-D876-4955-574B8314D1FF}"/>
              </a:ext>
            </a:extLst>
          </p:cNvPr>
          <p:cNvSpPr/>
          <p:nvPr/>
        </p:nvSpPr>
        <p:spPr>
          <a:xfrm>
            <a:off x="5309018" y="4817767"/>
            <a:ext cx="2059247" cy="7318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lid State Transform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B0667D9-C127-D2EF-1E24-D4D95E9731E1}"/>
              </a:ext>
            </a:extLst>
          </p:cNvPr>
          <p:cNvGrpSpPr/>
          <p:nvPr/>
        </p:nvGrpSpPr>
        <p:grpSpPr>
          <a:xfrm>
            <a:off x="7038831" y="3267249"/>
            <a:ext cx="597143" cy="523568"/>
            <a:chOff x="7038831" y="3267249"/>
            <a:chExt cx="597143" cy="52356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5617F43-DA64-753E-A8D6-831920553885}"/>
                </a:ext>
              </a:extLst>
            </p:cNvPr>
            <p:cNvSpPr txBox="1"/>
            <p:nvPr/>
          </p:nvSpPr>
          <p:spPr>
            <a:xfrm>
              <a:off x="7038831" y="3267249"/>
              <a:ext cx="5971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600" b="0" i="0" u="none" strike="noStrike" kern="1200" cap="none" spc="0" normalizeH="0" baseline="0" noProof="0">
                  <a:ln>
                    <a:noFill/>
                  </a:ln>
                  <a:solidFill>
                    <a:srgbClr val="7F1E5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C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7138F2BB-B5A1-1942-AE74-E2A1C02BD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7169609" y="3583897"/>
              <a:ext cx="335587" cy="20692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3FB1CE27-00CC-8FDE-E3BF-79F0A3443F68}"/>
              </a:ext>
            </a:extLst>
          </p:cNvPr>
          <p:cNvSpPr txBox="1"/>
          <p:nvPr/>
        </p:nvSpPr>
        <p:spPr>
          <a:xfrm>
            <a:off x="5376395" y="1387638"/>
            <a:ext cx="15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ectrical Room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73C159-B4DD-E5E7-8187-D3B53BB49B18}"/>
              </a:ext>
            </a:extLst>
          </p:cNvPr>
          <p:cNvCxnSpPr/>
          <p:nvPr/>
        </p:nvCxnSpPr>
        <p:spPr>
          <a:xfrm>
            <a:off x="5410002" y="1446663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88CD08DE-A7CD-D813-DE57-99199F222EA7}"/>
              </a:ext>
            </a:extLst>
          </p:cNvPr>
          <p:cNvSpPr txBox="1"/>
          <p:nvPr/>
        </p:nvSpPr>
        <p:spPr>
          <a:xfrm>
            <a:off x="8259907" y="3015222"/>
            <a:ext cx="111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Hal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BA3FB4D-A56C-3BED-8C38-47E0E222BEE9}"/>
              </a:ext>
            </a:extLst>
          </p:cNvPr>
          <p:cNvCxnSpPr/>
          <p:nvPr/>
        </p:nvCxnSpPr>
        <p:spPr>
          <a:xfrm>
            <a:off x="8293514" y="3074247"/>
            <a:ext cx="0" cy="1119116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Graphic 54">
            <a:extLst>
              <a:ext uri="{FF2B5EF4-FFF2-40B4-BE49-F238E27FC236}">
                <a16:creationId xmlns:a16="http://schemas.microsoft.com/office/drawing/2014/main" id="{06840F62-8ECE-2D22-05A8-0F259C73BB3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91521" y="3826203"/>
            <a:ext cx="1422590" cy="8301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EB041A6-E996-7BF7-FF48-31DED4199045}"/>
              </a:ext>
            </a:extLst>
          </p:cNvPr>
          <p:cNvSpPr txBox="1"/>
          <p:nvPr/>
        </p:nvSpPr>
        <p:spPr>
          <a:xfrm>
            <a:off x="-101797" y="3405748"/>
            <a:ext cx="2421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000" b="1" i="0" u="none" strike="noStrike" kern="1200" cap="none" spc="0" normalizeH="0" baseline="0" noProof="0">
                <a:ln>
                  <a:noFill/>
                </a:ln>
                <a:solidFill>
                  <a:srgbClr val="7F1E5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V to data hall</a:t>
            </a:r>
            <a:endParaRPr kumimoji="0" lang="en-IE" sz="2400" b="1" i="0" u="none" strike="noStrike" kern="1200" cap="none" spc="0" normalizeH="0" baseline="0" noProof="0">
              <a:ln>
                <a:noFill/>
              </a:ln>
              <a:solidFill>
                <a:srgbClr val="7F1E5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14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9856EB-53DB-0D59-D27C-44493F319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E4361621-AA47-2A77-1957-54CA146865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356"/>
          <a:stretch/>
        </p:blipFill>
        <p:spPr>
          <a:xfrm>
            <a:off x="165" y="0"/>
            <a:ext cx="16255835" cy="9144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0F0233-2DAC-89EF-C1C0-473A975862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79731-2882-4D80-9BED-4696CF6F22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2626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62626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EF0B80-61E4-3E18-BF8B-58782C864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Convergence is happening in several space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41BBFB-718F-553C-C706-6A8DB9E762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E"/>
              <a:t>The walls are coming down…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41831D7-2747-81E6-2D80-E02B660416B7}"/>
              </a:ext>
            </a:extLst>
          </p:cNvPr>
          <p:cNvGrpSpPr/>
          <p:nvPr/>
        </p:nvGrpSpPr>
        <p:grpSpPr>
          <a:xfrm>
            <a:off x="822225" y="2045977"/>
            <a:ext cx="4130797" cy="2445265"/>
            <a:chOff x="822225" y="1979190"/>
            <a:chExt cx="4130797" cy="244526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7C1E51D-0240-26E9-D9F3-1E5F59164C92}"/>
                </a:ext>
              </a:extLst>
            </p:cNvPr>
            <p:cNvSpPr/>
            <p:nvPr/>
          </p:nvSpPr>
          <p:spPr>
            <a:xfrm>
              <a:off x="822225" y="1979190"/>
              <a:ext cx="4130797" cy="24452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33B80520-7C69-2DED-B0BF-3D332E50F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59793" y="1979190"/>
              <a:ext cx="855660" cy="244526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8662F28-A5C5-79AA-AC80-88A0E807FACD}"/>
                </a:ext>
              </a:extLst>
            </p:cNvPr>
            <p:cNvSpPr txBox="1"/>
            <p:nvPr/>
          </p:nvSpPr>
          <p:spPr>
            <a:xfrm>
              <a:off x="822225" y="3348090"/>
              <a:ext cx="14877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1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ower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3F62B64-D652-7F72-ACCA-F0AED42E2770}"/>
                </a:ext>
              </a:extLst>
            </p:cNvPr>
            <p:cNvSpPr txBox="1"/>
            <p:nvPr/>
          </p:nvSpPr>
          <p:spPr>
            <a:xfrm>
              <a:off x="3524500" y="3348090"/>
              <a:ext cx="14285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1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omput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5CC5017-0A7F-62EB-A2DC-3EE0BA91AA4F}"/>
                </a:ext>
              </a:extLst>
            </p:cNvPr>
            <p:cNvSpPr/>
            <p:nvPr/>
          </p:nvSpPr>
          <p:spPr>
            <a:xfrm>
              <a:off x="2429308" y="2845450"/>
              <a:ext cx="1017094" cy="7346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C64C392-334C-AEC3-E870-1D0D029E5926}"/>
                </a:ext>
              </a:extLst>
            </p:cNvPr>
            <p:cNvCxnSpPr/>
            <p:nvPr/>
          </p:nvCxnSpPr>
          <p:spPr>
            <a:xfrm>
              <a:off x="2298359" y="2834484"/>
              <a:ext cx="1261857" cy="0"/>
            </a:xfrm>
            <a:prstGeom prst="line">
              <a:avLst/>
            </a:prstGeom>
            <a:ln w="28575">
              <a:solidFill>
                <a:schemeClr val="tx1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222E5E2-4505-BF71-7E1D-3CEABC736307}"/>
                </a:ext>
              </a:extLst>
            </p:cNvPr>
            <p:cNvCxnSpPr/>
            <p:nvPr/>
          </p:nvCxnSpPr>
          <p:spPr>
            <a:xfrm>
              <a:off x="2262645" y="3580126"/>
              <a:ext cx="1261857" cy="0"/>
            </a:xfrm>
            <a:prstGeom prst="line">
              <a:avLst/>
            </a:prstGeom>
            <a:ln w="28575">
              <a:solidFill>
                <a:schemeClr val="tx1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Arrow: Right 64">
            <a:extLst>
              <a:ext uri="{FF2B5EF4-FFF2-40B4-BE49-F238E27FC236}">
                <a16:creationId xmlns:a16="http://schemas.microsoft.com/office/drawing/2014/main" id="{531F3FB8-31DC-1AA4-F0B2-41900ED86E7F}"/>
              </a:ext>
            </a:extLst>
          </p:cNvPr>
          <p:cNvSpPr/>
          <p:nvPr/>
        </p:nvSpPr>
        <p:spPr>
          <a:xfrm>
            <a:off x="2297277" y="3065892"/>
            <a:ext cx="491319" cy="41148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>
              <a:solidFill>
                <a:schemeClr val="lt1"/>
              </a:solidFill>
            </a:endParaRP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EDE55484-2A6C-14F0-0B7E-BCA1966375B7}"/>
              </a:ext>
            </a:extLst>
          </p:cNvPr>
          <p:cNvSpPr/>
          <p:nvPr/>
        </p:nvSpPr>
        <p:spPr>
          <a:xfrm rot="10800000">
            <a:off x="3091124" y="3065892"/>
            <a:ext cx="491319" cy="41148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>
              <a:solidFill>
                <a:schemeClr val="lt1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6830ACE-609C-5B74-5645-BB56B79DED35}"/>
              </a:ext>
            </a:extLst>
          </p:cNvPr>
          <p:cNvGrpSpPr/>
          <p:nvPr/>
        </p:nvGrpSpPr>
        <p:grpSpPr>
          <a:xfrm>
            <a:off x="6072027" y="2045977"/>
            <a:ext cx="4130797" cy="2445265"/>
            <a:chOff x="6072027" y="1979190"/>
            <a:chExt cx="4130797" cy="2445265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CBDE1F2-03CD-0547-9903-13471189BD07}"/>
                </a:ext>
              </a:extLst>
            </p:cNvPr>
            <p:cNvGrpSpPr/>
            <p:nvPr/>
          </p:nvGrpSpPr>
          <p:grpSpPr>
            <a:xfrm>
              <a:off x="6072027" y="1979190"/>
              <a:ext cx="4130797" cy="2445265"/>
              <a:chOff x="6072027" y="1979190"/>
              <a:chExt cx="4130797" cy="2445265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74D2399-4287-86D0-13AD-50EF061896DB}"/>
                  </a:ext>
                </a:extLst>
              </p:cNvPr>
              <p:cNvSpPr/>
              <p:nvPr/>
            </p:nvSpPr>
            <p:spPr>
              <a:xfrm>
                <a:off x="6072027" y="1979190"/>
                <a:ext cx="4130797" cy="244526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9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4ED65BE2-20E4-A5D4-760B-07F42ADC19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709595" y="1979190"/>
                <a:ext cx="855660" cy="244526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333F031-953A-F60D-6B3C-09D569A73B00}"/>
                  </a:ext>
                </a:extLst>
              </p:cNvPr>
              <p:cNvSpPr txBox="1"/>
              <p:nvPr/>
            </p:nvSpPr>
            <p:spPr>
              <a:xfrm>
                <a:off x="6072027" y="3368383"/>
                <a:ext cx="147613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Power</a:t>
                </a:r>
                <a:endPara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1809FB3-05D7-30C0-17CA-427E18356728}"/>
                  </a:ext>
                </a:extLst>
              </p:cNvPr>
              <p:cNvSpPr txBox="1"/>
              <p:nvPr/>
            </p:nvSpPr>
            <p:spPr>
              <a:xfrm>
                <a:off x="8774303" y="3368383"/>
                <a:ext cx="142852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oling</a:t>
                </a: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B8F6445-E0CA-76E5-AC07-03C6540F3359}"/>
                  </a:ext>
                </a:extLst>
              </p:cNvPr>
              <p:cNvSpPr/>
              <p:nvPr/>
            </p:nvSpPr>
            <p:spPr>
              <a:xfrm>
                <a:off x="7679110" y="2845450"/>
                <a:ext cx="1017094" cy="7346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BFDCD00-5C81-93AB-7570-BCE4E8EE76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48161" y="2834484"/>
                <a:ext cx="1261857" cy="0"/>
              </a:xfrm>
              <a:prstGeom prst="line">
                <a:avLst/>
              </a:prstGeom>
              <a:ln w="28575">
                <a:solidFill>
                  <a:schemeClr val="tx1">
                    <a:lumMod val="20000"/>
                    <a:lumOff val="8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E974F53-5CCB-0223-4FA6-74B9234912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12446" y="3580126"/>
                <a:ext cx="1261857" cy="0"/>
              </a:xfrm>
              <a:prstGeom prst="line">
                <a:avLst/>
              </a:prstGeom>
              <a:ln w="28575">
                <a:solidFill>
                  <a:schemeClr val="tx1">
                    <a:lumMod val="20000"/>
                    <a:lumOff val="8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" name="Arrow: Right 66">
              <a:extLst>
                <a:ext uri="{FF2B5EF4-FFF2-40B4-BE49-F238E27FC236}">
                  <a16:creationId xmlns:a16="http://schemas.microsoft.com/office/drawing/2014/main" id="{11637B5B-6B0B-38CF-19EA-802ED0C57241}"/>
                </a:ext>
              </a:extLst>
            </p:cNvPr>
            <p:cNvSpPr/>
            <p:nvPr/>
          </p:nvSpPr>
          <p:spPr>
            <a:xfrm>
              <a:off x="7494119" y="2999105"/>
              <a:ext cx="491319" cy="41148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2400">
                <a:solidFill>
                  <a:schemeClr val="lt1"/>
                </a:solidFill>
              </a:endParaRPr>
            </a:p>
          </p:txBody>
        </p:sp>
        <p:sp>
          <p:nvSpPr>
            <p:cNvPr id="68" name="Arrow: Right 67">
              <a:extLst>
                <a:ext uri="{FF2B5EF4-FFF2-40B4-BE49-F238E27FC236}">
                  <a16:creationId xmlns:a16="http://schemas.microsoft.com/office/drawing/2014/main" id="{A8CDA8C3-9A0A-959C-0526-3F59FBDC549E}"/>
                </a:ext>
              </a:extLst>
            </p:cNvPr>
            <p:cNvSpPr/>
            <p:nvPr/>
          </p:nvSpPr>
          <p:spPr>
            <a:xfrm rot="10800000">
              <a:off x="8287966" y="2999105"/>
              <a:ext cx="491319" cy="41148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2400">
                <a:solidFill>
                  <a:schemeClr val="lt1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F571276-1989-69DC-D5C7-07B7AEE0F4B0}"/>
              </a:ext>
            </a:extLst>
          </p:cNvPr>
          <p:cNvGrpSpPr/>
          <p:nvPr/>
        </p:nvGrpSpPr>
        <p:grpSpPr>
          <a:xfrm>
            <a:off x="11321829" y="2045977"/>
            <a:ext cx="4130797" cy="2445265"/>
            <a:chOff x="11321829" y="1979190"/>
            <a:chExt cx="4130797" cy="244526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8049B12-886A-E7D0-2B0D-A9DAC856DCB2}"/>
                </a:ext>
              </a:extLst>
            </p:cNvPr>
            <p:cNvGrpSpPr/>
            <p:nvPr/>
          </p:nvGrpSpPr>
          <p:grpSpPr>
            <a:xfrm>
              <a:off x="11321829" y="1979190"/>
              <a:ext cx="4130797" cy="2445265"/>
              <a:chOff x="11321829" y="1979190"/>
              <a:chExt cx="4130797" cy="2445265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8C71A86-3E86-3043-D8DF-D87BDF2D04B1}"/>
                  </a:ext>
                </a:extLst>
              </p:cNvPr>
              <p:cNvSpPr/>
              <p:nvPr/>
            </p:nvSpPr>
            <p:spPr>
              <a:xfrm>
                <a:off x="11321829" y="1979190"/>
                <a:ext cx="4130797" cy="244526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9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19A131E7-4CA9-42E1-54D8-442323D0D0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2959397" y="1979190"/>
                <a:ext cx="855660" cy="2445265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A4FB974-EBAA-06F9-42D0-0BC531F5348D}"/>
                  </a:ext>
                </a:extLst>
              </p:cNvPr>
              <p:cNvSpPr txBox="1"/>
              <p:nvPr/>
            </p:nvSpPr>
            <p:spPr>
              <a:xfrm>
                <a:off x="11321829" y="3371793"/>
                <a:ext cx="1476134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Grey </a:t>
                </a:r>
                <a:br>
                  <a:rPr kumimoji="0" lang="en-I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</a:br>
                <a:r>
                  <a:rPr kumimoji="0" lang="en-I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Space</a:t>
                </a:r>
                <a:endParaRPr kumimoji="0" lang="en-IE" sz="18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2D9C26BD-B1FC-53BA-FC2D-F72201063EC9}"/>
                  </a:ext>
                </a:extLst>
              </p:cNvPr>
              <p:cNvSpPr txBox="1"/>
              <p:nvPr/>
            </p:nvSpPr>
            <p:spPr>
              <a:xfrm>
                <a:off x="14059820" y="3371793"/>
                <a:ext cx="13928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White</a:t>
                </a:r>
              </a:p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Spa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49866109-D009-4B99-D36C-2E07C2A760D0}"/>
                  </a:ext>
                </a:extLst>
              </p:cNvPr>
              <p:cNvSpPr/>
              <p:nvPr/>
            </p:nvSpPr>
            <p:spPr>
              <a:xfrm>
                <a:off x="12928912" y="2845450"/>
                <a:ext cx="1017094" cy="7346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508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54CAED2B-62C1-0EC5-94E2-FBCE48A9B3A9}"/>
                  </a:ext>
                </a:extLst>
              </p:cNvPr>
              <p:cNvCxnSpPr/>
              <p:nvPr/>
            </p:nvCxnSpPr>
            <p:spPr>
              <a:xfrm>
                <a:off x="12797963" y="2834484"/>
                <a:ext cx="1261857" cy="0"/>
              </a:xfrm>
              <a:prstGeom prst="line">
                <a:avLst/>
              </a:prstGeom>
              <a:ln w="28575">
                <a:solidFill>
                  <a:schemeClr val="tx1">
                    <a:lumMod val="20000"/>
                    <a:lumOff val="8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1127E8B6-F622-1739-8B52-5112FE32BBF9}"/>
                  </a:ext>
                </a:extLst>
              </p:cNvPr>
              <p:cNvCxnSpPr/>
              <p:nvPr/>
            </p:nvCxnSpPr>
            <p:spPr>
              <a:xfrm>
                <a:off x="12762249" y="3580126"/>
                <a:ext cx="1261857" cy="0"/>
              </a:xfrm>
              <a:prstGeom prst="line">
                <a:avLst/>
              </a:prstGeom>
              <a:ln w="28575">
                <a:solidFill>
                  <a:schemeClr val="tx1">
                    <a:lumMod val="20000"/>
                    <a:lumOff val="8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Arrow: Right 70">
              <a:extLst>
                <a:ext uri="{FF2B5EF4-FFF2-40B4-BE49-F238E27FC236}">
                  <a16:creationId xmlns:a16="http://schemas.microsoft.com/office/drawing/2014/main" id="{6D2EA91B-EF6F-77F7-7D03-4ADA00CA7685}"/>
                </a:ext>
              </a:extLst>
            </p:cNvPr>
            <p:cNvSpPr/>
            <p:nvPr/>
          </p:nvSpPr>
          <p:spPr>
            <a:xfrm>
              <a:off x="12784005" y="2999105"/>
              <a:ext cx="491319" cy="41148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2400">
                <a:solidFill>
                  <a:schemeClr val="lt1"/>
                </a:solidFill>
              </a:endParaRPr>
            </a:p>
          </p:txBody>
        </p:sp>
        <p:sp>
          <p:nvSpPr>
            <p:cNvPr id="72" name="Arrow: Right 71">
              <a:extLst>
                <a:ext uri="{FF2B5EF4-FFF2-40B4-BE49-F238E27FC236}">
                  <a16:creationId xmlns:a16="http://schemas.microsoft.com/office/drawing/2014/main" id="{F7F87A6A-42AB-56DB-DDF1-A75E05458720}"/>
                </a:ext>
              </a:extLst>
            </p:cNvPr>
            <p:cNvSpPr/>
            <p:nvPr/>
          </p:nvSpPr>
          <p:spPr>
            <a:xfrm rot="10800000">
              <a:off x="13577852" y="2999105"/>
              <a:ext cx="491319" cy="41148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2400">
                <a:solidFill>
                  <a:schemeClr val="lt1"/>
                </a:solidFill>
              </a:endParaRPr>
            </a:p>
          </p:txBody>
        </p:sp>
      </p:grpSp>
      <p:pic>
        <p:nvPicPr>
          <p:cNvPr id="41" name="Picture 40" descr="A grey container on a black background&#10;&#10;AI-generated content may be incorrect.">
            <a:extLst>
              <a:ext uri="{FF2B5EF4-FFF2-40B4-BE49-F238E27FC236}">
                <a16:creationId xmlns:a16="http://schemas.microsoft.com/office/drawing/2014/main" id="{58ADA5A1-B191-2D73-E688-F61E7FE8DDD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189" y="2716302"/>
            <a:ext cx="1116407" cy="59244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7D2F620-0C5F-EF1F-D08D-B57C61E35AB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1775" y="2657056"/>
            <a:ext cx="1160269" cy="65052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8207CA7-894A-D9A0-A2E4-7D239907110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8784" y="2564921"/>
            <a:ext cx="1202619" cy="663846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E8712A1-12F4-D75D-8A25-966737756A1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24191" y="2505141"/>
            <a:ext cx="1132825" cy="783158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AAF72777-BE92-7381-5089-EDEE2526F9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033894" y="2206045"/>
            <a:ext cx="1392806" cy="110153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DD74C325-471C-636B-CE2C-EBCE2AA059E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1603" y="2194540"/>
            <a:ext cx="974842" cy="101448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9AAEAE6-BD65-C94B-EE6F-71954510CD3D}"/>
              </a:ext>
            </a:extLst>
          </p:cNvPr>
          <p:cNvSpPr/>
          <p:nvPr/>
        </p:nvSpPr>
        <p:spPr>
          <a:xfrm>
            <a:off x="14393126" y="7903680"/>
            <a:ext cx="1146432" cy="1146432"/>
          </a:xfrm>
          <a:prstGeom prst="rect">
            <a:avLst/>
          </a:prstGeom>
          <a:gradFill flip="none" rotWithShape="1">
            <a:gsLst>
              <a:gs pos="70000">
                <a:srgbClr val="CDCDCD">
                  <a:alpha val="0"/>
                </a:srgbClr>
              </a:gs>
              <a:gs pos="35000">
                <a:srgbClr val="CDCDCD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lt1"/>
              </a:soli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AC695792-108A-B468-FC08-05E46FF2254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black">
          <a:xfrm>
            <a:off x="14536486" y="8302935"/>
            <a:ext cx="859713" cy="34792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FFDF910-735C-638F-6994-70784C8C9D21}"/>
              </a:ext>
            </a:extLst>
          </p:cNvPr>
          <p:cNvGrpSpPr/>
          <p:nvPr/>
        </p:nvGrpSpPr>
        <p:grpSpPr>
          <a:xfrm>
            <a:off x="3033968" y="5868860"/>
            <a:ext cx="3620728" cy="479982"/>
            <a:chOff x="3033968" y="5868860"/>
            <a:chExt cx="3620728" cy="479982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11031A7-27B9-A314-C2D9-2636AB7FFB95}"/>
                </a:ext>
              </a:extLst>
            </p:cNvPr>
            <p:cNvSpPr/>
            <p:nvPr/>
          </p:nvSpPr>
          <p:spPr>
            <a:xfrm>
              <a:off x="3033968" y="5868860"/>
              <a:ext cx="3620728" cy="47998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 algn="ctr">
                <a:defRPr/>
              </a:pPr>
              <a:r>
                <a:rPr lang="en-IE" sz="2000" b="1">
                  <a:solidFill>
                    <a:schemeClr val="accent4">
                      <a:lumMod val="90000"/>
                      <a:lumOff val="10000"/>
                    </a:schemeClr>
                  </a:solidFill>
                </a:rPr>
                <a:t>Reduce Complexity</a:t>
              </a:r>
              <a:endParaRPr lang="en-IE" sz="2000">
                <a:solidFill>
                  <a:schemeClr val="accent4">
                    <a:lumMod val="90000"/>
                    <a:lumOff val="10000"/>
                  </a:schemeClr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6B02B15B-55DE-8CC7-66DF-BB1980B81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154758" y="5930093"/>
              <a:ext cx="291514" cy="357517"/>
            </a:xfrm>
            <a:prstGeom prst="rect">
              <a:avLst/>
            </a:prstGeom>
          </p:spPr>
        </p:pic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A9F24CC8-E302-FC9A-6CF7-46A6695DF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275268" y="5930093"/>
              <a:ext cx="291514" cy="357517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943B26C-9265-731A-D95A-92E969B6E99A}"/>
              </a:ext>
            </a:extLst>
          </p:cNvPr>
          <p:cNvGrpSpPr/>
          <p:nvPr/>
        </p:nvGrpSpPr>
        <p:grpSpPr>
          <a:xfrm>
            <a:off x="691924" y="6489566"/>
            <a:ext cx="4943759" cy="479982"/>
            <a:chOff x="691924" y="6489566"/>
            <a:chExt cx="4943759" cy="479982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8DA77EB4-C939-F4D5-6A2D-5B4E54F82F0E}"/>
                </a:ext>
              </a:extLst>
            </p:cNvPr>
            <p:cNvSpPr/>
            <p:nvPr/>
          </p:nvSpPr>
          <p:spPr>
            <a:xfrm>
              <a:off x="691924" y="6489566"/>
              <a:ext cx="4943759" cy="47998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 algn="ctr">
                <a:defRPr/>
              </a:pPr>
              <a:r>
                <a:rPr lang="en-IE" sz="2000" b="1">
                  <a:solidFill>
                    <a:schemeClr val="accent4">
                      <a:lumMod val="90000"/>
                      <a:lumOff val="10000"/>
                    </a:schemeClr>
                  </a:solidFill>
                </a:rPr>
                <a:t>Mitigate need for Skilled Labor</a:t>
              </a:r>
              <a:endParaRPr lang="en-IE" sz="2000">
                <a:solidFill>
                  <a:schemeClr val="accent4">
                    <a:lumMod val="90000"/>
                    <a:lumOff val="10000"/>
                  </a:schemeClr>
                </a:solidFill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45522701-2988-F7BE-420C-E32259BC1F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144364" y="6550799"/>
              <a:ext cx="291514" cy="357517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951232E5-8701-286D-F67D-C59F0F61B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33225" y="6550799"/>
              <a:ext cx="291514" cy="357517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41895A4-90E7-E2AB-A658-3C74AA360A26}"/>
              </a:ext>
            </a:extLst>
          </p:cNvPr>
          <p:cNvGrpSpPr/>
          <p:nvPr/>
        </p:nvGrpSpPr>
        <p:grpSpPr>
          <a:xfrm>
            <a:off x="6287554" y="6460910"/>
            <a:ext cx="3620728" cy="479982"/>
            <a:chOff x="6287554" y="6460910"/>
            <a:chExt cx="3620728" cy="479982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2C5B01A9-7DB0-E309-6308-C665FF6BB84D}"/>
                </a:ext>
              </a:extLst>
            </p:cNvPr>
            <p:cNvSpPr/>
            <p:nvPr/>
          </p:nvSpPr>
          <p:spPr>
            <a:xfrm>
              <a:off x="6287554" y="6460910"/>
              <a:ext cx="3620728" cy="47998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spcAft>
                  <a:spcPts val="600"/>
                </a:spcAft>
                <a:defRPr/>
              </a:pPr>
              <a:r>
                <a:rPr lang="en-IE" sz="2000" b="1">
                  <a:solidFill>
                    <a:schemeClr val="accent4">
                      <a:lumMod val="90000"/>
                      <a:lumOff val="10000"/>
                    </a:schemeClr>
                  </a:solidFill>
                </a:rPr>
                <a:t>Standardization </a:t>
              </a: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91DAF917-7C28-1422-F0FA-2A38B0F4CC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9144620" y="6522142"/>
              <a:ext cx="291514" cy="357517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460DF0B3-2296-9C3C-93A6-A11A0874C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6778991" y="6522142"/>
              <a:ext cx="291514" cy="357517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80EADCA-F3D6-631C-D4E7-B48FEED58CDA}"/>
              </a:ext>
            </a:extLst>
          </p:cNvPr>
          <p:cNvGrpSpPr/>
          <p:nvPr/>
        </p:nvGrpSpPr>
        <p:grpSpPr>
          <a:xfrm>
            <a:off x="9398111" y="5895818"/>
            <a:ext cx="3620728" cy="479982"/>
            <a:chOff x="9398111" y="5895818"/>
            <a:chExt cx="3620728" cy="47998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4D14B81-760E-2074-A4A7-EFF59E2D4297}"/>
                </a:ext>
              </a:extLst>
            </p:cNvPr>
            <p:cNvSpPr/>
            <p:nvPr/>
          </p:nvSpPr>
          <p:spPr>
            <a:xfrm>
              <a:off x="9398111" y="5895818"/>
              <a:ext cx="3620728" cy="47998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spcAft>
                  <a:spcPts val="600"/>
                </a:spcAft>
                <a:defRPr/>
              </a:pPr>
              <a:r>
                <a:rPr lang="en-IE" sz="2000" b="1">
                  <a:solidFill>
                    <a:schemeClr val="accent4">
                      <a:lumMod val="90000"/>
                      <a:lumOff val="10000"/>
                    </a:schemeClr>
                  </a:solidFill>
                </a:rPr>
                <a:t>Collaboration</a:t>
              </a: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F031ACD1-CF33-0CA3-6744-FA1384F07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12131844" y="5957050"/>
              <a:ext cx="291514" cy="357517"/>
            </a:xfrm>
            <a:prstGeom prst="rect">
              <a:avLst/>
            </a:prstGeom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BD440199-0913-84C1-E206-B3CF777B3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10022229" y="5957050"/>
              <a:ext cx="291514" cy="357517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0AB6315-9BA7-B45B-0A08-53F82B6E3478}"/>
              </a:ext>
            </a:extLst>
          </p:cNvPr>
          <p:cNvGrpSpPr/>
          <p:nvPr/>
        </p:nvGrpSpPr>
        <p:grpSpPr>
          <a:xfrm>
            <a:off x="11568615" y="6460910"/>
            <a:ext cx="4121150" cy="479982"/>
            <a:chOff x="11568615" y="6460910"/>
            <a:chExt cx="4121150" cy="479982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6861B547-0C29-B4EB-C19C-C24DD2B9F548}"/>
                </a:ext>
              </a:extLst>
            </p:cNvPr>
            <p:cNvSpPr/>
            <p:nvPr/>
          </p:nvSpPr>
          <p:spPr>
            <a:xfrm>
              <a:off x="11568615" y="6460910"/>
              <a:ext cx="4121150" cy="47998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spcAft>
                  <a:spcPts val="600"/>
                </a:spcAft>
                <a:defRPr/>
              </a:pPr>
              <a:r>
                <a:rPr lang="en-IE" sz="2000" b="1">
                  <a:solidFill>
                    <a:schemeClr val="accent4">
                      <a:lumMod val="90000"/>
                      <a:lumOff val="10000"/>
                    </a:schemeClr>
                  </a:solidFill>
                </a:rPr>
                <a:t>Increased Efficiencies</a:t>
              </a: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9EC32744-AC71-57F9-CEEA-2A08598FB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15049582" y="6522142"/>
              <a:ext cx="291514" cy="357517"/>
            </a:xfrm>
            <a:prstGeom prst="rect">
              <a:avLst/>
            </a:prstGeom>
          </p:spPr>
        </p:pic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E31512D7-A1EB-EF46-961F-F982795C7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0800000">
              <a:off x="11915410" y="6522142"/>
              <a:ext cx="291514" cy="357517"/>
            </a:xfrm>
            <a:prstGeom prst="rect">
              <a:avLst/>
            </a:prstGeom>
          </p:spPr>
        </p:pic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E06C688-643A-6B7B-1963-1BAE829FFF9D}"/>
              </a:ext>
            </a:extLst>
          </p:cNvPr>
          <p:cNvCxnSpPr/>
          <p:nvPr/>
        </p:nvCxnSpPr>
        <p:spPr>
          <a:xfrm>
            <a:off x="812800" y="5439313"/>
            <a:ext cx="14639826" cy="0"/>
          </a:xfrm>
          <a:prstGeom prst="line">
            <a:avLst/>
          </a:prstGeom>
          <a:ln w="28575">
            <a:solidFill>
              <a:schemeClr val="accent4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6991B573-7BC7-8A6D-7479-73EF50E2DB6A}"/>
              </a:ext>
            </a:extLst>
          </p:cNvPr>
          <p:cNvSpPr/>
          <p:nvPr/>
        </p:nvSpPr>
        <p:spPr>
          <a:xfrm>
            <a:off x="7044377" y="5439313"/>
            <a:ext cx="2055973" cy="311713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sz="1600">
                <a:solidFill>
                  <a:schemeClr val="lt1"/>
                </a:solidFill>
              </a:rPr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1199987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A9D0969-8147-44AB-3DE9-5C5E1886A43F}"/>
              </a:ext>
            </a:extLst>
          </p:cNvPr>
          <p:cNvSpPr/>
          <p:nvPr/>
        </p:nvSpPr>
        <p:spPr>
          <a:xfrm>
            <a:off x="0" y="0"/>
            <a:ext cx="16254459" cy="9144000"/>
          </a:xfrm>
          <a:prstGeom prst="rect">
            <a:avLst/>
          </a:prstGeom>
          <a:solidFill>
            <a:schemeClr val="tx1">
              <a:alpha val="7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>
              <a:solidFill>
                <a:schemeClr val="lt1"/>
              </a:solidFill>
            </a:endParaRPr>
          </a:p>
        </p:txBody>
      </p:sp>
      <p:pic>
        <p:nvPicPr>
          <p:cNvPr id="5" name="Data Center Flythrough_Edited">
            <a:hlinkClick r:id="" action="ppaction://media"/>
            <a:extLst>
              <a:ext uri="{FF2B5EF4-FFF2-40B4-BE49-F238E27FC236}">
                <a16:creationId xmlns:a16="http://schemas.microsoft.com/office/drawing/2014/main" id="{5FAB852A-0495-C437-3C8F-D338F6C1645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>
            <a:lum bright="-5000"/>
          </a:blip>
          <a:srcRect t="19332" r="24155" b="4838"/>
          <a:stretch>
            <a:fillRect/>
          </a:stretch>
        </p:blipFill>
        <p:spPr>
          <a:xfrm>
            <a:off x="0" y="0"/>
            <a:ext cx="16254459" cy="914125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5C085E5-7928-AB5E-1DB8-C4FDFEEE73B8}"/>
              </a:ext>
            </a:extLst>
          </p:cNvPr>
          <p:cNvSpPr/>
          <p:nvPr/>
        </p:nvSpPr>
        <p:spPr>
          <a:xfrm>
            <a:off x="6842812" y="1252905"/>
            <a:ext cx="7315200" cy="7315200"/>
          </a:xfrm>
          <a:prstGeom prst="rect">
            <a:avLst/>
          </a:prstGeom>
          <a:gradFill flip="none" rotWithShape="1">
            <a:gsLst>
              <a:gs pos="30000">
                <a:srgbClr val="000000">
                  <a:alpha val="7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0F9501-AF42-4E73-406A-0B8FAD354E4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745"/>
            <a:ext cx="16254459" cy="9141255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20E4C1EC-92F5-AFA2-D906-727563BA38B5}"/>
              </a:ext>
            </a:extLst>
          </p:cNvPr>
          <p:cNvGrpSpPr/>
          <p:nvPr/>
        </p:nvGrpSpPr>
        <p:grpSpPr>
          <a:xfrm>
            <a:off x="8848192" y="3290601"/>
            <a:ext cx="3892410" cy="2871134"/>
            <a:chOff x="1128499" y="3192559"/>
            <a:chExt cx="4711048" cy="347498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17A5758-871B-CFCE-066B-8A6E2F57FD2B}"/>
                </a:ext>
              </a:extLst>
            </p:cNvPr>
            <p:cNvSpPr txBox="1"/>
            <p:nvPr/>
          </p:nvSpPr>
          <p:spPr>
            <a:xfrm>
              <a:off x="1128499" y="3968204"/>
              <a:ext cx="1930532" cy="808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Higher efficienc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F860C3B-CBE0-5BF5-5465-F094D9233F30}"/>
                </a:ext>
              </a:extLst>
            </p:cNvPr>
            <p:cNvSpPr txBox="1"/>
            <p:nvPr/>
          </p:nvSpPr>
          <p:spPr>
            <a:xfrm>
              <a:off x="1998752" y="5859458"/>
              <a:ext cx="2571146" cy="808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4508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Greater </a:t>
              </a:r>
              <a:b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resilienc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5F7CC20-5DFB-3264-66ED-B467A9A5AF42}"/>
                </a:ext>
              </a:extLst>
            </p:cNvPr>
            <p:cNvSpPr txBox="1"/>
            <p:nvPr/>
          </p:nvSpPr>
          <p:spPr>
            <a:xfrm>
              <a:off x="2835061" y="3989377"/>
              <a:ext cx="3004486" cy="808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2000" b="1">
                  <a:solidFill>
                    <a:schemeClr val="bg1"/>
                  </a:solidFill>
                </a:rPr>
                <a:t>Lower </a:t>
              </a:r>
              <a:br>
                <a:rPr lang="en-US" sz="2000" b="1">
                  <a:solidFill>
                    <a:schemeClr val="bg1"/>
                  </a:solidFill>
                </a:rPr>
              </a:br>
              <a:r>
                <a:rPr lang="en-US" sz="2000" b="1">
                  <a:solidFill>
                    <a:schemeClr val="bg1"/>
                  </a:solidFill>
                </a:rPr>
                <a:t>operating costs</a:t>
              </a: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772C614-BBF0-7EB6-1482-62FE7A715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807289" y="3197677"/>
              <a:ext cx="759600" cy="7596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CCF32240-51F0-BDCF-043D-240ED793C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67579" y="3192559"/>
              <a:ext cx="895249" cy="895249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E7ECD624-EDAC-4AC8-B36B-2AD7DE2B3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835061" y="4961532"/>
              <a:ext cx="828000" cy="828000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CCF5D105-A392-06CD-186B-B6D05F8E6913}"/>
              </a:ext>
            </a:extLst>
          </p:cNvPr>
          <p:cNvSpPr/>
          <p:nvPr/>
        </p:nvSpPr>
        <p:spPr>
          <a:xfrm>
            <a:off x="395652" y="5622713"/>
            <a:ext cx="4100148" cy="70611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R="0" lvl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T and thermal performanc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F914034-A10C-E2D9-1BD9-E1456FB7168B}"/>
              </a:ext>
            </a:extLst>
          </p:cNvPr>
          <p:cNvSpPr/>
          <p:nvPr/>
        </p:nvSpPr>
        <p:spPr>
          <a:xfrm>
            <a:off x="395652" y="3945166"/>
            <a:ext cx="4100148" cy="70611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R="0" lvl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ime-to-market and sca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8B60E7-150D-293E-5F74-6A5216815BEA}"/>
              </a:ext>
            </a:extLst>
          </p:cNvPr>
          <p:cNvSpPr/>
          <p:nvPr/>
        </p:nvSpPr>
        <p:spPr>
          <a:xfrm>
            <a:off x="395653" y="4777433"/>
            <a:ext cx="4100148" cy="70611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182880" rIns="91440" bIns="182880" rtlCol="0" anchor="ctr">
            <a:noAutofit/>
          </a:bodyPr>
          <a:lstStyle/>
          <a:p>
            <a:pPr marR="0" lvl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ower safety and efficienc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47069E-A805-77A2-7BE5-F6DB863137FB}"/>
              </a:ext>
            </a:extLst>
          </p:cNvPr>
          <p:cNvSpPr/>
          <p:nvPr/>
        </p:nvSpPr>
        <p:spPr>
          <a:xfrm>
            <a:off x="395651" y="3429830"/>
            <a:ext cx="2520000" cy="39483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dustry challenges 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B5380BA-32BE-E7E9-C7A8-ADEB89A0C77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84388" y="2158435"/>
            <a:ext cx="4536000" cy="483295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853A8F0-3567-791D-78C7-C41E2D6A4E07}"/>
              </a:ext>
            </a:extLst>
          </p:cNvPr>
          <p:cNvSpPr/>
          <p:nvPr/>
        </p:nvSpPr>
        <p:spPr>
          <a:xfrm>
            <a:off x="8267473" y="166317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C992B6-9C00-BFB5-00FA-93D12714C361}"/>
              </a:ext>
            </a:extLst>
          </p:cNvPr>
          <p:cNvSpPr/>
          <p:nvPr/>
        </p:nvSpPr>
        <p:spPr>
          <a:xfrm>
            <a:off x="11207501" y="166317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BE06FDF-8841-42EF-8F4D-AB71FB7D2C92}"/>
              </a:ext>
            </a:extLst>
          </p:cNvPr>
          <p:cNvSpPr/>
          <p:nvPr/>
        </p:nvSpPr>
        <p:spPr>
          <a:xfrm>
            <a:off x="9737487" y="166317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55636A-3B9A-3D66-3766-6C5901C7C52D}"/>
              </a:ext>
            </a:extLst>
          </p:cNvPr>
          <p:cNvSpPr/>
          <p:nvPr/>
        </p:nvSpPr>
        <p:spPr>
          <a:xfrm>
            <a:off x="6797459" y="383248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F0BD7E-1DE1-613F-17C7-0DA2F99F04D8}"/>
              </a:ext>
            </a:extLst>
          </p:cNvPr>
          <p:cNvSpPr/>
          <p:nvPr/>
        </p:nvSpPr>
        <p:spPr>
          <a:xfrm>
            <a:off x="5327445" y="383248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18F30B7-A04E-FDD4-334D-D9271871C2CE}"/>
              </a:ext>
            </a:extLst>
          </p:cNvPr>
          <p:cNvSpPr/>
          <p:nvPr/>
        </p:nvSpPr>
        <p:spPr>
          <a:xfrm>
            <a:off x="12677515" y="383248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34BF293-73D2-A844-8A23-F019D033677D}"/>
              </a:ext>
            </a:extLst>
          </p:cNvPr>
          <p:cNvSpPr/>
          <p:nvPr/>
        </p:nvSpPr>
        <p:spPr>
          <a:xfrm>
            <a:off x="14147530" y="383248"/>
            <a:ext cx="1828800" cy="1828800"/>
          </a:xfrm>
          <a:prstGeom prst="rect">
            <a:avLst/>
          </a:prstGeom>
          <a:gradFill flip="none" rotWithShape="1">
            <a:gsLst>
              <a:gs pos="40000">
                <a:srgbClr val="000000">
                  <a:alpha val="60000"/>
                </a:srgbClr>
              </a:gs>
              <a:gs pos="70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450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itle 13">
            <a:extLst>
              <a:ext uri="{FF2B5EF4-FFF2-40B4-BE49-F238E27FC236}">
                <a16:creationId xmlns:a16="http://schemas.microsoft.com/office/drawing/2014/main" id="{C4D76B45-4190-2FC8-207E-DAD0DA444B74}"/>
              </a:ext>
            </a:extLst>
          </p:cNvPr>
          <p:cNvSpPr txBox="1">
            <a:spLocks/>
          </p:cNvSpPr>
          <p:nvPr/>
        </p:nvSpPr>
        <p:spPr>
          <a:xfrm>
            <a:off x="5476445" y="485162"/>
            <a:ext cx="10358168" cy="54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81265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400" b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is</a:t>
            </a:r>
            <a:r>
              <a:rPr lang="en-US" sz="440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onvergence </a:t>
            </a:r>
            <a:br>
              <a:rPr lang="en-US"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44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 both an </a:t>
            </a:r>
            <a:r>
              <a:rPr lang="en-US"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portunity </a:t>
            </a:r>
            <a:r>
              <a:rPr lang="en-US" sz="44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an</a:t>
            </a:r>
            <a:r>
              <a:rPr lang="en-US"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nabl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7557A5-263F-E290-C696-A5758A42E6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79731-2882-4D80-9BED-4696CF6F225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120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2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lex - Light 2024 Template">
  <a:themeElements>
    <a:clrScheme name="Flex Colors 2024">
      <a:dk1>
        <a:srgbClr val="262626"/>
      </a:dk1>
      <a:lt1>
        <a:srgbClr val="FFFFFF"/>
      </a:lt1>
      <a:dk2>
        <a:srgbClr val="949494"/>
      </a:dk2>
      <a:lt2>
        <a:srgbClr val="F2F2F2"/>
      </a:lt2>
      <a:accent1>
        <a:srgbClr val="005486"/>
      </a:accent1>
      <a:accent2>
        <a:srgbClr val="009ADD"/>
      </a:accent2>
      <a:accent3>
        <a:srgbClr val="82BC00"/>
      </a:accent3>
      <a:accent4>
        <a:srgbClr val="006432"/>
      </a:accent4>
      <a:accent5>
        <a:srgbClr val="BA257D"/>
      </a:accent5>
      <a:accent6>
        <a:srgbClr val="7F1E5E"/>
      </a:accent6>
      <a:hlink>
        <a:srgbClr val="009ADD"/>
      </a:hlink>
      <a:folHlink>
        <a:srgbClr val="009AD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ln>
          <a:noFill/>
        </a:ln>
        <a:effectLst/>
      </a:spPr>
      <a:bodyPr rtlCol="0" anchor="ctr"/>
      <a:lstStyle>
        <a:defPPr algn="ctr">
          <a:defRPr sz="2400" dirty="0">
            <a:solidFill>
              <a:schemeClr val="l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>
              <a:lumMod val="20000"/>
              <a:lumOff val="8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400" dirty="0" smtClean="0"/>
        </a:defPPr>
      </a:lstStyle>
    </a:txDef>
  </a:objectDefaults>
  <a:extraClrSchemeLst/>
  <a:custClrLst>
    <a:custClr name="Flex Blue">
      <a:srgbClr val="009ADD"/>
    </a:custClr>
    <a:custClr name="Dark Blue">
      <a:srgbClr val="005486"/>
    </a:custClr>
    <a:custClr name="Light Gray">
      <a:srgbClr val="F2F2F2"/>
    </a:custClr>
    <a:custClr name="Dark Gray">
      <a:srgbClr val="262626"/>
    </a:custClr>
    <a:custClr name="Green">
      <a:srgbClr val="82BC00"/>
    </a:custClr>
    <a:custClr name="Dark Green">
      <a:srgbClr val="006432"/>
    </a:custClr>
    <a:custClr name="Fuchsia">
      <a:srgbClr val="BA257D"/>
    </a:custClr>
    <a:custClr name="Dark Fuchsia">
      <a:srgbClr val="7F1E5E"/>
    </a:custClr>
    <a:custClr name="Gold">
      <a:srgbClr val="F1B52C"/>
    </a:custClr>
    <a:custClr name="Dark Gold">
      <a:srgbClr val="CE6D28"/>
    </a:custClr>
  </a:custClrLst>
  <a:extLst>
    <a:ext uri="{05A4C25C-085E-4340-85A3-A5531E510DB2}">
      <thm15:themeFamily xmlns:thm15="http://schemas.microsoft.com/office/thememl/2012/main" name="PowerPoint Template_ Light" id="{499611FE-C25B-4A94-B4D0-F8433C7B91CF}" vid="{F37EEA41-5AB8-46F7-85CE-2915403D2A27}"/>
    </a:ext>
  </a:extLst>
</a:theme>
</file>

<file path=ppt/theme/theme2.xml><?xml version="1.0" encoding="utf-8"?>
<a:theme xmlns:a="http://schemas.openxmlformats.org/drawingml/2006/main" name="4_Flex - Light 2024 Template">
  <a:themeElements>
    <a:clrScheme name="Flex Colors 2024">
      <a:dk1>
        <a:srgbClr val="262626"/>
      </a:dk1>
      <a:lt1>
        <a:srgbClr val="FFFFFF"/>
      </a:lt1>
      <a:dk2>
        <a:srgbClr val="949494"/>
      </a:dk2>
      <a:lt2>
        <a:srgbClr val="F2F2F2"/>
      </a:lt2>
      <a:accent1>
        <a:srgbClr val="005486"/>
      </a:accent1>
      <a:accent2>
        <a:srgbClr val="009ADD"/>
      </a:accent2>
      <a:accent3>
        <a:srgbClr val="82BC00"/>
      </a:accent3>
      <a:accent4>
        <a:srgbClr val="006432"/>
      </a:accent4>
      <a:accent5>
        <a:srgbClr val="BA257D"/>
      </a:accent5>
      <a:accent6>
        <a:srgbClr val="7F1E5E"/>
      </a:accent6>
      <a:hlink>
        <a:srgbClr val="009ADD"/>
      </a:hlink>
      <a:folHlink>
        <a:srgbClr val="009AD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ln>
          <a:noFill/>
        </a:ln>
        <a:effectLst/>
      </a:spPr>
      <a:bodyPr rtlCol="0" anchor="ctr"/>
      <a:lstStyle>
        <a:defPPr algn="ctr">
          <a:defRPr sz="2400" dirty="0">
            <a:solidFill>
              <a:schemeClr val="l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>
              <a:lumMod val="20000"/>
              <a:lumOff val="8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400" dirty="0" smtClean="0"/>
        </a:defPPr>
      </a:lstStyle>
    </a:txDef>
  </a:objectDefaults>
  <a:extraClrSchemeLst/>
  <a:custClrLst>
    <a:custClr name="Flex Blue">
      <a:srgbClr val="009ADD"/>
    </a:custClr>
    <a:custClr name="Dark Blue">
      <a:srgbClr val="005486"/>
    </a:custClr>
    <a:custClr name="Light Gray">
      <a:srgbClr val="F2F2F2"/>
    </a:custClr>
    <a:custClr name="Dark Gray">
      <a:srgbClr val="262626"/>
    </a:custClr>
    <a:custClr name="Green">
      <a:srgbClr val="82BC00"/>
    </a:custClr>
    <a:custClr name="Dark Green">
      <a:srgbClr val="006432"/>
    </a:custClr>
    <a:custClr name="Fuchsia">
      <a:srgbClr val="BA257D"/>
    </a:custClr>
    <a:custClr name="Dark Fuchsia">
      <a:srgbClr val="7F1E5E"/>
    </a:custClr>
    <a:custClr name="Gold">
      <a:srgbClr val="F1B52C"/>
    </a:custClr>
    <a:custClr name="Dark Gold">
      <a:srgbClr val="CE6D28"/>
    </a:custClr>
  </a:custClrLst>
  <a:extLst>
    <a:ext uri="{05A4C25C-085E-4340-85A3-A5531E510DB2}">
      <thm15:themeFamily xmlns:thm15="http://schemas.microsoft.com/office/thememl/2012/main" name="PowerPoint Template_ Light" id="{499611FE-C25B-4A94-B4D0-F8433C7B91CF}" vid="{F37EEA41-5AB8-46F7-85CE-2915403D2A27}"/>
    </a:ext>
  </a:extLst>
</a:theme>
</file>

<file path=ppt/theme/theme3.xml><?xml version="1.0" encoding="utf-8"?>
<a:theme xmlns:a="http://schemas.openxmlformats.org/drawingml/2006/main" name="Flex - Dark 2022 Template">
  <a:themeElements>
    <a:clrScheme name="Custom 24">
      <a:dk1>
        <a:srgbClr val="333333"/>
      </a:dk1>
      <a:lt1>
        <a:srgbClr val="FFFFFF"/>
      </a:lt1>
      <a:dk2>
        <a:srgbClr val="949494"/>
      </a:dk2>
      <a:lt2>
        <a:srgbClr val="F3F3F3"/>
      </a:lt2>
      <a:accent1>
        <a:srgbClr val="005386"/>
      </a:accent1>
      <a:accent2>
        <a:srgbClr val="0099DD"/>
      </a:accent2>
      <a:accent3>
        <a:srgbClr val="82BC00"/>
      </a:accent3>
      <a:accent4>
        <a:srgbClr val="006332"/>
      </a:accent4>
      <a:accent5>
        <a:srgbClr val="BA247D"/>
      </a:accent5>
      <a:accent6>
        <a:srgbClr val="7F1E5E"/>
      </a:accent6>
      <a:hlink>
        <a:srgbClr val="0099DD"/>
      </a:hlink>
      <a:folHlink>
        <a:srgbClr val="00538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ln>
          <a:noFill/>
        </a:ln>
        <a:effectLst/>
      </a:spPr>
      <a:bodyPr rtlCol="0" anchor="ctr"/>
      <a:lstStyle>
        <a:defPPr algn="ctr">
          <a:defRPr sz="2400" dirty="0">
            <a:solidFill>
              <a:schemeClr val="l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>
              <a:lumMod val="20000"/>
              <a:lumOff val="8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400" dirty="0" smtClean="0"/>
        </a:defPPr>
      </a:lstStyle>
    </a:txDef>
  </a:objectDefaults>
  <a:extraClrSchemeLst/>
  <a:custClrLst>
    <a:custClr name="Gold">
      <a:srgbClr val="F1B52C"/>
    </a:custClr>
    <a:custClr name="Dark Gold">
      <a:srgbClr val="CE6D28"/>
    </a:custClr>
  </a:custClrLst>
  <a:extLst>
    <a:ext uri="{05A4C25C-085E-4340-85A3-A5531E510DB2}">
      <thm15:themeFamily xmlns:thm15="http://schemas.microsoft.com/office/thememl/2012/main" name="PowerPoint Template_ Dark" id="{C5EEAA6E-21C7-438A-B9C1-71A6F5CA1906}" vid="{15F54EC7-12FA-4835-A756-D2CEA62835A4}"/>
    </a:ext>
  </a:extLst>
</a:theme>
</file>

<file path=ppt/theme/theme4.xml><?xml version="1.0" encoding="utf-8"?>
<a:theme xmlns:a="http://schemas.openxmlformats.org/drawingml/2006/main" name="Flex - Light 2024 Template">
  <a:themeElements>
    <a:clrScheme name="Flex Colors 2024">
      <a:dk1>
        <a:srgbClr val="262626"/>
      </a:dk1>
      <a:lt1>
        <a:srgbClr val="FFFFFF"/>
      </a:lt1>
      <a:dk2>
        <a:srgbClr val="949494"/>
      </a:dk2>
      <a:lt2>
        <a:srgbClr val="F2F2F2"/>
      </a:lt2>
      <a:accent1>
        <a:srgbClr val="005486"/>
      </a:accent1>
      <a:accent2>
        <a:srgbClr val="009ADD"/>
      </a:accent2>
      <a:accent3>
        <a:srgbClr val="82BC00"/>
      </a:accent3>
      <a:accent4>
        <a:srgbClr val="006432"/>
      </a:accent4>
      <a:accent5>
        <a:srgbClr val="BA257D"/>
      </a:accent5>
      <a:accent6>
        <a:srgbClr val="7F1E5E"/>
      </a:accent6>
      <a:hlink>
        <a:srgbClr val="009ADD"/>
      </a:hlink>
      <a:folHlink>
        <a:srgbClr val="009AD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0000">
              <a:schemeClr val="accent2">
                <a:lumMod val="80000"/>
              </a:schemeClr>
            </a:gs>
            <a:gs pos="100000">
              <a:schemeClr val="accent2"/>
            </a:gs>
            <a:gs pos="0">
              <a:schemeClr val="accent1"/>
            </a:gs>
          </a:gsLst>
          <a:lin ang="2700000" scaled="1"/>
        </a:gradFill>
        <a:ln>
          <a:noFill/>
        </a:ln>
        <a:effectLst/>
      </a:spPr>
      <a:bodyPr rtlCol="0" anchor="ctr"/>
      <a:lstStyle>
        <a:defPPr algn="ctr">
          <a:defRPr sz="2400" dirty="0">
            <a:solidFill>
              <a:schemeClr val="l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>
              <a:lumMod val="20000"/>
              <a:lumOff val="8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400" dirty="0" smtClean="0"/>
        </a:defPPr>
      </a:lstStyle>
    </a:txDef>
  </a:objectDefaults>
  <a:extraClrSchemeLst/>
  <a:custClrLst>
    <a:custClr name="Flex Blue">
      <a:srgbClr val="009ADD"/>
    </a:custClr>
    <a:custClr name="Dark Blue">
      <a:srgbClr val="005486"/>
    </a:custClr>
    <a:custClr name="Light Gray">
      <a:srgbClr val="F2F2F2"/>
    </a:custClr>
    <a:custClr name="Dark Gray">
      <a:srgbClr val="262626"/>
    </a:custClr>
    <a:custClr name="Green">
      <a:srgbClr val="82BC00"/>
    </a:custClr>
    <a:custClr name="Dark Green">
      <a:srgbClr val="006432"/>
    </a:custClr>
    <a:custClr name="Fuchsia">
      <a:srgbClr val="BA257D"/>
    </a:custClr>
    <a:custClr name="Dark Fuchsia">
      <a:srgbClr val="7F1E5E"/>
    </a:custClr>
    <a:custClr name="Gold">
      <a:srgbClr val="F1B52C"/>
    </a:custClr>
    <a:custClr name="Dark Gold">
      <a:srgbClr val="CE6D28"/>
    </a:custClr>
  </a:custClrLst>
  <a:extLst>
    <a:ext uri="{05A4C25C-085E-4340-85A3-A5531E510DB2}">
      <thm15:themeFamily xmlns:thm15="http://schemas.microsoft.com/office/thememl/2012/main" name="PowerPoint Template_ Light" id="{499611FE-C25B-4A94-B4D0-F8433C7B91CF}" vid="{F37EEA41-5AB8-46F7-85CE-2915403D2A27}"/>
    </a:ext>
  </a:extLst>
</a:theme>
</file>

<file path=ppt/theme/theme5.xml><?xml version="1.0" encoding="utf-8"?>
<a:theme xmlns:a="http://schemas.openxmlformats.org/drawingml/2006/main" name="Office Theme">
  <a:themeElements>
    <a:clrScheme name="Flex 2020">
      <a:dk1>
        <a:srgbClr val="333333"/>
      </a:dk1>
      <a:lt1>
        <a:srgbClr val="FFFFFF"/>
      </a:lt1>
      <a:dk2>
        <a:srgbClr val="949494"/>
      </a:dk2>
      <a:lt2>
        <a:srgbClr val="DEDEDE"/>
      </a:lt2>
      <a:accent1>
        <a:srgbClr val="005386"/>
      </a:accent1>
      <a:accent2>
        <a:srgbClr val="0099DD"/>
      </a:accent2>
      <a:accent3>
        <a:srgbClr val="82BC00"/>
      </a:accent3>
      <a:accent4>
        <a:srgbClr val="006332"/>
      </a:accent4>
      <a:accent5>
        <a:srgbClr val="F1B52C"/>
      </a:accent5>
      <a:accent6>
        <a:srgbClr val="CE6D28"/>
      </a:accent6>
      <a:hlink>
        <a:srgbClr val="0099DD"/>
      </a:hlink>
      <a:folHlink>
        <a:srgbClr val="00538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Flex 2020">
      <a:dk1>
        <a:srgbClr val="333333"/>
      </a:dk1>
      <a:lt1>
        <a:srgbClr val="FFFFFF"/>
      </a:lt1>
      <a:dk2>
        <a:srgbClr val="949494"/>
      </a:dk2>
      <a:lt2>
        <a:srgbClr val="DEDEDE"/>
      </a:lt2>
      <a:accent1>
        <a:srgbClr val="005386"/>
      </a:accent1>
      <a:accent2>
        <a:srgbClr val="0099DD"/>
      </a:accent2>
      <a:accent3>
        <a:srgbClr val="82BC00"/>
      </a:accent3>
      <a:accent4>
        <a:srgbClr val="006332"/>
      </a:accent4>
      <a:accent5>
        <a:srgbClr val="F1B52C"/>
      </a:accent5>
      <a:accent6>
        <a:srgbClr val="CE6D28"/>
      </a:accent6>
      <a:hlink>
        <a:srgbClr val="0099DD"/>
      </a:hlink>
      <a:folHlink>
        <a:srgbClr val="00538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rgbClr val="333333"/>
    </a:dk1>
    <a:lt1>
      <a:srgbClr val="FFFFFF"/>
    </a:lt1>
    <a:dk2>
      <a:srgbClr val="949494"/>
    </a:dk2>
    <a:lt2>
      <a:srgbClr val="F3F3F3"/>
    </a:lt2>
    <a:accent1>
      <a:srgbClr val="005386"/>
    </a:accent1>
    <a:accent2>
      <a:srgbClr val="0099DD"/>
    </a:accent2>
    <a:accent3>
      <a:srgbClr val="82BC00"/>
    </a:accent3>
    <a:accent4>
      <a:srgbClr val="006332"/>
    </a:accent4>
    <a:accent5>
      <a:srgbClr val="BA247D"/>
    </a:accent5>
    <a:accent6>
      <a:srgbClr val="7F1E5E"/>
    </a:accent6>
    <a:hlink>
      <a:srgbClr val="0099DD"/>
    </a:hlink>
    <a:folHlink>
      <a:srgbClr val="00538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e7b8111-4238-4a82-9ee8-6736a843823b" xsi:nil="true"/>
    <lcf76f155ced4ddcb4097134ff3c332f xmlns="d330696a-e7b7-455f-bb09-408c6e23b04f">
      <Terms xmlns="http://schemas.microsoft.com/office/infopath/2007/PartnerControls"/>
    </lcf76f155ced4ddcb4097134ff3c332f>
    <Livefile xmlns="d330696a-e7b7-455f-bb09-408c6e23b04f">
      <Url xsi:nil="true"/>
      <Description xsi:nil="true"/>
    </Livefil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1B79232BAE6845A17A7008C99B31D8" ma:contentTypeVersion="15" ma:contentTypeDescription="Create a new document." ma:contentTypeScope="" ma:versionID="41c83e378b711173d0c877dd2ef0b497">
  <xsd:schema xmlns:xsd="http://www.w3.org/2001/XMLSchema" xmlns:xs="http://www.w3.org/2001/XMLSchema" xmlns:p="http://schemas.microsoft.com/office/2006/metadata/properties" xmlns:ns2="d330696a-e7b7-455f-bb09-408c6e23b04f" xmlns:ns3="ee7b8111-4238-4a82-9ee8-6736a843823b" targetNamespace="http://schemas.microsoft.com/office/2006/metadata/properties" ma:root="true" ma:fieldsID="7e0ede5b507c7fb5d8cfd7c504db7774" ns2:_="" ns3:_="">
    <xsd:import namespace="d330696a-e7b7-455f-bb09-408c6e23b04f"/>
    <xsd:import namespace="ee7b8111-4238-4a82-9ee8-6736a84382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  <xsd:element ref="ns2:Livefil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30696a-e7b7-455f-bb09-408c6e23b0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80102068-9c90-4286-99c1-cd9f6fbf34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  <xsd:element name="Livefile" ma:index="22" nillable="true" ma:displayName="Live file" ma:description="Link to active file on DCD Teams channel" ma:format="Hyperlink" ma:internalName="Livefil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7b8111-4238-4a82-9ee8-6736a843823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efb6f18-fdf4-469b-89e5-3a997958ab18}" ma:internalName="TaxCatchAll" ma:showField="CatchAllData" ma:web="ee7b8111-4238-4a82-9ee8-6736a84382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C509FA-993C-4490-BF5C-29B417E92CFC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fbba4a09-82d1-4b38-a8f3-d88a1966fee6"/>
    <ds:schemaRef ds:uri="50a3a48e-2066-49aa-b79e-91ddbf39e07c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ee7b8111-4238-4a82-9ee8-6736a843823b"/>
    <ds:schemaRef ds:uri="d330696a-e7b7-455f-bb09-408c6e23b04f"/>
  </ds:schemaRefs>
</ds:datastoreItem>
</file>

<file path=customXml/itemProps2.xml><?xml version="1.0" encoding="utf-8"?>
<ds:datastoreItem xmlns:ds="http://schemas.openxmlformats.org/officeDocument/2006/customXml" ds:itemID="{C5615E5B-78B6-4C63-95AA-60762D92C1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30696a-e7b7-455f-bb09-408c6e23b04f"/>
    <ds:schemaRef ds:uri="ee7b8111-4238-4a82-9ee8-6736a84382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894F249-80EF-4743-9B6A-405EB33894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860</Words>
  <Application>Microsoft Macintosh PowerPoint</Application>
  <PresentationFormat>Custom</PresentationFormat>
  <Paragraphs>198</Paragraphs>
  <Slides>11</Slides>
  <Notes>1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entury Gothic</vt:lpstr>
      <vt:lpstr>Courier New</vt:lpstr>
      <vt:lpstr>3_Flex - Light 2024 Template</vt:lpstr>
      <vt:lpstr>4_Flex - Light 2024 Template</vt:lpstr>
      <vt:lpstr>Flex - Dark 2022 Template</vt:lpstr>
      <vt:lpstr>Flex - Light 2024 Template</vt:lpstr>
      <vt:lpstr>think-cell Slide</vt:lpstr>
      <vt:lpstr>Grid-to-Chip Solutions to Power, Cool and Scale AI Data Centers</vt:lpstr>
      <vt:lpstr>AI era data center growth challenges</vt:lpstr>
      <vt:lpstr>Next-gen infrastructure is driven by close collaboration</vt:lpstr>
      <vt:lpstr>The data center is transforming</vt:lpstr>
      <vt:lpstr>Current isolated IT power [ today ]</vt:lpstr>
      <vt:lpstr>Future consolidated IT power [ 2027 ]</vt:lpstr>
      <vt:lpstr>Next Gen [ 2030 ]</vt:lpstr>
      <vt:lpstr>Convergence is happening in several spaces</vt:lpstr>
      <vt:lpstr>PowerPoint Presentation</vt:lpstr>
      <vt:lpstr>Harness Flex’s end-to-end portfolio of data center products and servi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b. 2025 GAH planning</dc:title>
  <dc:creator>Sarah Smock</dc:creator>
  <cp:lastModifiedBy>Roger Proeis</cp:lastModifiedBy>
  <cp:revision>3</cp:revision>
  <dcterms:created xsi:type="dcterms:W3CDTF">2025-01-09T16:00:56Z</dcterms:created>
  <dcterms:modified xsi:type="dcterms:W3CDTF">2026-02-06T03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1B79232BAE6845A17A7008C99B31D8</vt:lpwstr>
  </property>
  <property fmtid="{D5CDD505-2E9C-101B-9397-08002B2CF9AE}" pid="3" name="NXPowerLiteLastOptimized">
    <vt:lpwstr>11039461</vt:lpwstr>
  </property>
  <property fmtid="{D5CDD505-2E9C-101B-9397-08002B2CF9AE}" pid="4" name="NXPowerLiteSettings">
    <vt:lpwstr>C980073804F000</vt:lpwstr>
  </property>
  <property fmtid="{D5CDD505-2E9C-101B-9397-08002B2CF9AE}" pid="5" name="NXPowerLiteVersion">
    <vt:lpwstr>D8.0.4</vt:lpwstr>
  </property>
  <property fmtid="{D5CDD505-2E9C-101B-9397-08002B2CF9AE}" pid="6" name="MediaServiceImageTags">
    <vt:lpwstr/>
  </property>
  <property fmtid="{D5CDD505-2E9C-101B-9397-08002B2CF9AE}" pid="7" name="Order">
    <vt:lpwstr>6331200.00000000</vt:lpwstr>
  </property>
  <property fmtid="{D5CDD505-2E9C-101B-9397-08002B2CF9AE}" pid="8" name="xd_ProgID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lpwstr/>
  </property>
</Properties>
</file>